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3.xml" ContentType="application/vnd.openxmlformats-officedocument.theme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5.xml" ContentType="application/vnd.openxmlformats-officedocument.theme+xml"/>
  <Override PartName="/ppt/tags/tag2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6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7.xml" ContentType="application/vnd.openxmlformats-officedocument.theme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8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9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10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11.xml" ContentType="application/vnd.openxmlformats-officedocument.theme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12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13.xml" ContentType="application/vnd.openxmlformats-officedocument.theme+xml"/>
  <Override PartName="/ppt/tags/tag11.xml" ContentType="application/vnd.openxmlformats-officedocument.presentationml.tags+xml"/>
  <Override PartName="/ppt/theme/theme14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1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2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3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4.xml" ContentType="application/vnd.openxmlformats-officedocument.presentationml.notesSlide+xml"/>
  <Override PartName="/ppt/tags/tag20.xml" ContentType="application/vnd.openxmlformats-officedocument.presentationml.tags+xml"/>
  <Override PartName="/ppt/notesSlides/notesSlide5.xml" ContentType="application/vnd.openxmlformats-officedocument.presentationml.notesSlide+xml"/>
  <Override PartName="/ppt/tags/tag21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93482" r:id="rId4"/>
    <p:sldMasterId id="2147493480" r:id="rId5"/>
    <p:sldMasterId id="2147493455" r:id="rId6"/>
    <p:sldMasterId id="2147493521" r:id="rId7"/>
    <p:sldMasterId id="2147493573" r:id="rId8"/>
    <p:sldMasterId id="2147493579" r:id="rId9"/>
    <p:sldMasterId id="2147493589" r:id="rId10"/>
    <p:sldMasterId id="2147493595" r:id="rId11"/>
    <p:sldMasterId id="2147493605" r:id="rId12"/>
    <p:sldMasterId id="2147493613" r:id="rId13"/>
    <p:sldMasterId id="2147493623" r:id="rId14"/>
    <p:sldMasterId id="2147493630" r:id="rId15"/>
  </p:sldMasterIdLst>
  <p:notesMasterIdLst>
    <p:notesMasterId r:id="rId37"/>
  </p:notesMasterIdLst>
  <p:handoutMasterIdLst>
    <p:handoutMasterId r:id="rId38"/>
  </p:handoutMasterIdLst>
  <p:sldIdLst>
    <p:sldId id="381" r:id="rId16"/>
    <p:sldId id="468" r:id="rId17"/>
    <p:sldId id="470" r:id="rId18"/>
    <p:sldId id="472" r:id="rId19"/>
    <p:sldId id="492" r:id="rId20"/>
    <p:sldId id="490" r:id="rId21"/>
    <p:sldId id="475" r:id="rId22"/>
    <p:sldId id="493" r:id="rId23"/>
    <p:sldId id="484" r:id="rId24"/>
    <p:sldId id="485" r:id="rId25"/>
    <p:sldId id="486" r:id="rId26"/>
    <p:sldId id="487" r:id="rId27"/>
    <p:sldId id="488" r:id="rId28"/>
    <p:sldId id="494" r:id="rId29"/>
    <p:sldId id="495" r:id="rId30"/>
    <p:sldId id="496" r:id="rId31"/>
    <p:sldId id="497" r:id="rId32"/>
    <p:sldId id="498" r:id="rId33"/>
    <p:sldId id="499" r:id="rId34"/>
    <p:sldId id="500" r:id="rId35"/>
    <p:sldId id="501" r:id="rId36"/>
  </p:sldIdLst>
  <p:sldSz cx="12192000" cy="6858000"/>
  <p:notesSz cx="7023100" cy="9309100"/>
  <p:defaultTextStyle>
    <a:defPPr>
      <a:defRPr lang="en-US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3300"/>
    <a:srgbClr val="595959"/>
    <a:srgbClr val="7F7F7F"/>
    <a:srgbClr val="E71D1D"/>
    <a:srgbClr val="EB2819"/>
    <a:srgbClr val="E4202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EB344D84-9AFB-497E-A393-DC336BA19D2E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779" autoAdjust="0"/>
    <p:restoredTop sz="95970" autoAdjust="0"/>
  </p:normalViewPr>
  <p:slideViewPr>
    <p:cSldViewPr snapToGrid="0" snapToObjects="1">
      <p:cViewPr varScale="1">
        <p:scale>
          <a:sx n="87" d="100"/>
          <a:sy n="87" d="100"/>
        </p:scale>
        <p:origin x="312" y="90"/>
      </p:cViewPr>
      <p:guideLst>
        <p:guide orient="horz" pos="2160"/>
        <p:guide pos="384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3.xml"/><Relationship Id="rId26" Type="http://schemas.openxmlformats.org/officeDocument/2006/relationships/slide" Target="slides/slide11.xml"/><Relationship Id="rId39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6.xml"/><Relationship Id="rId34" Type="http://schemas.openxmlformats.org/officeDocument/2006/relationships/slide" Target="slides/slide19.xml"/><Relationship Id="rId42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2.xml"/><Relationship Id="rId25" Type="http://schemas.openxmlformats.org/officeDocument/2006/relationships/slide" Target="slides/slide10.xml"/><Relationship Id="rId33" Type="http://schemas.openxmlformats.org/officeDocument/2006/relationships/slide" Target="slides/slide18.xml"/><Relationship Id="rId38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.xml"/><Relationship Id="rId20" Type="http://schemas.openxmlformats.org/officeDocument/2006/relationships/slide" Target="slides/slide5.xml"/><Relationship Id="rId29" Type="http://schemas.openxmlformats.org/officeDocument/2006/relationships/slide" Target="slides/slide14.xml"/><Relationship Id="rId41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9.xml"/><Relationship Id="rId32" Type="http://schemas.openxmlformats.org/officeDocument/2006/relationships/slide" Target="slides/slide17.xml"/><Relationship Id="rId37" Type="http://schemas.openxmlformats.org/officeDocument/2006/relationships/notesMaster" Target="notesMasters/notesMaster1.xml"/><Relationship Id="rId40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" Target="slides/slide8.xml"/><Relationship Id="rId28" Type="http://schemas.openxmlformats.org/officeDocument/2006/relationships/slide" Target="slides/slide13.xml"/><Relationship Id="rId36" Type="http://schemas.openxmlformats.org/officeDocument/2006/relationships/slide" Target="slides/slide21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4.xml"/><Relationship Id="rId31" Type="http://schemas.openxmlformats.org/officeDocument/2006/relationships/slide" Target="slides/slide16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7.xml"/><Relationship Id="rId27" Type="http://schemas.openxmlformats.org/officeDocument/2006/relationships/slide" Target="slides/slide12.xml"/><Relationship Id="rId30" Type="http://schemas.openxmlformats.org/officeDocument/2006/relationships/slide" Target="slides/slide15.xml"/><Relationship Id="rId35" Type="http://schemas.openxmlformats.org/officeDocument/2006/relationships/slide" Target="slides/slide20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12.xml"/><Relationship Id="rId1" Type="http://schemas.openxmlformats.org/officeDocument/2006/relationships/theme" Target="../theme/theme1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4EE32258-FB80-45A8-9B74-1683BE9BBCA6}" type="datetimeFigureOut">
              <a:rPr lang="en-US"/>
              <a:pPr>
                <a:defRPr/>
              </a:pPr>
              <a:t>6/18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  <p:custDataLst>
              <p:tags r:id="rId2"/>
            </p:custDataLst>
          </p:nvPr>
        </p:nvSpPr>
        <p:spPr>
          <a:xfrm>
            <a:off x="0" y="8842375"/>
            <a:ext cx="7023100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r>
              <a:rPr lang="en-US" sz="700" smtClean="0">
                <a:solidFill>
                  <a:srgbClr val="7F7F7F"/>
                </a:solidFill>
                <a:latin typeface="Arial" panose="020B0604020202020204" pitchFamily="34" charset="0"/>
              </a:rPr>
              <a:t>Honeywell Internal</a:t>
            </a:r>
            <a:endParaRPr lang="en-US" sz="700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7C3D88DF-F55F-4059-A130-039F3A2BD7A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7344750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11.xml"/><Relationship Id="rId1" Type="http://schemas.openxmlformats.org/officeDocument/2006/relationships/theme" Target="../theme/theme1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04595965-5128-43C4-93B7-052CCC0E0867}" type="datetimeFigureOut">
              <a:rPr lang="en-US"/>
              <a:pPr>
                <a:defRPr/>
              </a:pPr>
              <a:t>6/18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698500"/>
            <a:ext cx="62039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21188"/>
            <a:ext cx="5619750" cy="4189412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  <p:custDataLst>
              <p:tags r:id="rId2"/>
            </p:custDataLst>
          </p:nvPr>
        </p:nvSpPr>
        <p:spPr>
          <a:xfrm>
            <a:off x="0" y="8842375"/>
            <a:ext cx="7023100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lang="en-US" sz="700" b="0" i="0" u="none">
                <a:solidFill>
                  <a:srgbClr val="7F7F7F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smtClean="0"/>
              <a:t>Honeywell Internal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277FC6C9-3F2A-4303-AD26-6D1FDF078F5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1969149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slide" Target="../slides/slide1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14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slide" Target="../slides/slide2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16.xm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slide" Target="../slides/slide3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18.xm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slide" Target="../slides/slide4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20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0" y="8842375"/>
            <a:ext cx="7023100" cy="465138"/>
          </a:xfrm>
        </p:spPr>
        <p:txBody>
          <a:bodyPr/>
          <a:lstStyle/>
          <a:p>
            <a:pPr>
              <a:defRPr/>
            </a:pPr>
            <a:r>
              <a:rPr lang="en-US" smtClean="0"/>
              <a:t>Honeywell Interna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77FC6C9-3F2A-4303-AD26-6D1FDF078F50}" type="slidenum">
              <a:rPr lang="en-US" smtClean="0"/>
              <a:pPr>
                <a:defRPr/>
              </a:pPr>
              <a:t>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12127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0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 Connected Aircraft affects key stakeholders in the ecosystem. It can: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0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livers safer, faster and more comfortable flights for passengers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0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ovides real-time information for pilots and flight crews to enhance safety and efficiency. 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0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duces workload for maintainers to turn around an aircraft more quickly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0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elps flight operations personnel to better manage the fleet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0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d reduces costs and increases ease of ownership for airlines executives</a:t>
            </a:r>
          </a:p>
          <a:p>
            <a:r>
              <a:rPr lang="en-US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			</a:t>
            </a:r>
            <a:endParaRPr 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77FC6C9-3F2A-4303-AD26-6D1FDF078F50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521375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77FC6C9-3F2A-4303-AD26-6D1FDF078F50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232357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0" y="8842375"/>
            <a:ext cx="7023100" cy="465138"/>
          </a:xfrm>
        </p:spPr>
        <p:txBody>
          <a:bodyPr/>
          <a:lstStyle/>
          <a:p>
            <a:pPr>
              <a:defRPr/>
            </a:pPr>
            <a:r>
              <a:rPr lang="en-US" smtClean="0"/>
              <a:t>Honeywell Interna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77FC6C9-3F2A-4303-AD26-6D1FDF078F50}" type="slidenum">
              <a:rPr lang="en-US" smtClean="0"/>
              <a:pPr>
                <a:defRPr/>
              </a:pPr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159612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0" y="8842375"/>
            <a:ext cx="7023100" cy="465138"/>
          </a:xfrm>
        </p:spPr>
        <p:txBody>
          <a:bodyPr/>
          <a:lstStyle/>
          <a:p>
            <a:pPr>
              <a:defRPr/>
            </a:pPr>
            <a:r>
              <a:rPr lang="en-US" smtClean="0"/>
              <a:t>Honeywell Interna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77FC6C9-3F2A-4303-AD26-6D1FDF078F50}" type="slidenum">
              <a:rPr lang="en-US" smtClean="0"/>
              <a:pPr>
                <a:defRPr/>
              </a:pPr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702479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0" y="8842375"/>
            <a:ext cx="7023100" cy="465138"/>
          </a:xfrm>
        </p:spPr>
        <p:txBody>
          <a:bodyPr/>
          <a:lstStyle/>
          <a:p>
            <a:pPr>
              <a:defRPr/>
            </a:pPr>
            <a:r>
              <a:rPr lang="en-US" smtClean="0"/>
              <a:t>Honeywell Interna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77FC6C9-3F2A-4303-AD26-6D1FDF078F50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005138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1.</a:t>
            </a:r>
            <a:r>
              <a:rPr lang="en-US" dirty="0" smtClean="0"/>
              <a:t>SO - </a:t>
            </a:r>
            <a:r>
              <a:rPr lang="ru-RU" dirty="0" smtClean="0"/>
              <a:t>Навести порядок</a:t>
            </a:r>
            <a:r>
              <a:rPr lang="ru-RU" baseline="0" dirty="0" smtClean="0"/>
              <a:t> на самом предприятии, устранить разрывы в автоматизации.</a:t>
            </a:r>
          </a:p>
          <a:p>
            <a:r>
              <a:rPr lang="ru-RU" baseline="0" dirty="0" smtClean="0"/>
              <a:t>Необходимо использовать программный подход – синхронизация проектов в рамках программы.</a:t>
            </a:r>
          </a:p>
          <a:p>
            <a:r>
              <a:rPr lang="ru-RU" baseline="0" dirty="0" smtClean="0"/>
              <a:t>Мотивация Заказчика достижение бизнес целей, которые контролируются руководством.</a:t>
            </a:r>
          </a:p>
          <a:p>
            <a:r>
              <a:rPr lang="ru-RU" baseline="0" dirty="0" smtClean="0"/>
              <a:t>2.</a:t>
            </a:r>
            <a:r>
              <a:rPr lang="en-US" baseline="0" dirty="0" smtClean="0"/>
              <a:t>DT – </a:t>
            </a:r>
            <a:r>
              <a:rPr lang="ru-RU" baseline="0" dirty="0" smtClean="0"/>
              <a:t>переход к интернет технологиям, изменение бизнес-процессовс помощью автоматизации.</a:t>
            </a:r>
          </a:p>
          <a:p>
            <a:r>
              <a:rPr lang="ru-RU" baseline="0" dirty="0" smtClean="0"/>
              <a:t>Получается</a:t>
            </a:r>
            <a:r>
              <a:rPr lang="en-US" baseline="0" dirty="0" smtClean="0"/>
              <a:t> SO </a:t>
            </a:r>
            <a:r>
              <a:rPr lang="ru-RU" baseline="0" dirty="0" smtClean="0"/>
              <a:t>через </a:t>
            </a:r>
            <a:r>
              <a:rPr lang="en-US" baseline="0" dirty="0" smtClean="0"/>
              <a:t>DT</a:t>
            </a:r>
            <a:r>
              <a:rPr lang="ru-RU" baseline="0" dirty="0" smtClean="0"/>
              <a:t>.</a:t>
            </a:r>
          </a:p>
          <a:p>
            <a:r>
              <a:rPr lang="ru-RU" baseline="0" dirty="0" smtClean="0"/>
              <a:t>3.Получается </a:t>
            </a:r>
            <a:r>
              <a:rPr lang="en-US" baseline="0" dirty="0" smtClean="0"/>
              <a:t>CPS</a:t>
            </a:r>
            <a:r>
              <a:rPr lang="ru-RU" baseline="0" dirty="0" smtClean="0"/>
              <a:t>, аналогично, для достижения целей </a:t>
            </a:r>
            <a:r>
              <a:rPr lang="en-US" baseline="0" dirty="0" smtClean="0"/>
              <a:t>SO</a:t>
            </a:r>
            <a:r>
              <a:rPr lang="ru-RU" baseline="0" dirty="0" smtClean="0"/>
              <a:t>.</a:t>
            </a:r>
          </a:p>
          <a:p>
            <a:r>
              <a:rPr lang="en-US" baseline="0" dirty="0" smtClean="0"/>
              <a:t>CPS </a:t>
            </a:r>
            <a:r>
              <a:rPr lang="ru-RU" baseline="0" dirty="0" smtClean="0"/>
              <a:t>обеспечивают дополнительные возможности, когда внутренняя экспертиза уже исчерпана.</a:t>
            </a:r>
          </a:p>
          <a:p>
            <a:r>
              <a:rPr lang="ru-RU" baseline="0" dirty="0" smtClean="0"/>
              <a:t>Предполагается развитие услуги </a:t>
            </a:r>
            <a:r>
              <a:rPr lang="en-US" baseline="0" dirty="0" smtClean="0"/>
              <a:t>CPS</a:t>
            </a:r>
            <a:r>
              <a:rPr lang="ru-RU" baseline="0" dirty="0" smtClean="0"/>
              <a:t> не только для </a:t>
            </a:r>
            <a:r>
              <a:rPr lang="en-US" baseline="0" dirty="0" smtClean="0"/>
              <a:t>UOP</a:t>
            </a:r>
            <a:r>
              <a:rPr lang="ru-RU" baseline="0" dirty="0" smtClean="0"/>
              <a:t>, но и для других вендоров.</a:t>
            </a:r>
          </a:p>
          <a:p>
            <a:endParaRPr lang="ru-RU" baseline="0" dirty="0" smtClean="0"/>
          </a:p>
          <a:p>
            <a:r>
              <a:rPr lang="ru-RU" baseline="0" dirty="0" smtClean="0"/>
              <a:t>При этом, в основе достижения всех целей лежат идеи </a:t>
            </a:r>
            <a:r>
              <a:rPr lang="en-US" baseline="0" dirty="0" smtClean="0"/>
              <a:t>AS</a:t>
            </a:r>
            <a:r>
              <a:rPr lang="ru-RU" baseline="0" dirty="0" smtClean="0"/>
              <a:t>.</a:t>
            </a:r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115381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4625" lvl="1" indent="-174625">
              <a:spcBef>
                <a:spcPts val="600"/>
              </a:spcBef>
              <a:spcAft>
                <a:spcPts val="0"/>
              </a:spcAft>
              <a:buClr>
                <a:srgbClr val="E1261C"/>
              </a:buClr>
              <a:buSzPct val="100000"/>
              <a:buFont typeface="Arial" pitchFamily="34" charset="0"/>
              <a:buChar char="•"/>
              <a:defRPr/>
            </a:pPr>
            <a:r>
              <a:rPr lang="en-US" sz="1200" b="1" dirty="0">
                <a:solidFill>
                  <a:srgbClr val="000000"/>
                </a:solidFill>
              </a:rPr>
              <a:t>Customer</a:t>
            </a:r>
            <a:r>
              <a:rPr lang="en-US" sz="1200" dirty="0">
                <a:solidFill>
                  <a:srgbClr val="000000"/>
                </a:solidFill>
              </a:rPr>
              <a:t> is able to maximize plant performance by:</a:t>
            </a:r>
          </a:p>
          <a:p>
            <a:pPr lvl="1">
              <a:buClr>
                <a:srgbClr val="707070"/>
              </a:buClr>
            </a:pPr>
            <a:r>
              <a:rPr lang="en-US" sz="1050" dirty="0">
                <a:solidFill>
                  <a:srgbClr val="000000"/>
                </a:solidFill>
              </a:rPr>
              <a:t>Optimizing process yields</a:t>
            </a:r>
          </a:p>
          <a:p>
            <a:pPr lvl="1">
              <a:buClr>
                <a:srgbClr val="707070"/>
              </a:buClr>
            </a:pPr>
            <a:r>
              <a:rPr lang="en-US" sz="1050" dirty="0">
                <a:solidFill>
                  <a:srgbClr val="000000"/>
                </a:solidFill>
              </a:rPr>
              <a:t>Maximizing mix of feeds to convert</a:t>
            </a:r>
          </a:p>
          <a:p>
            <a:pPr lvl="1">
              <a:buClr>
                <a:srgbClr val="707070"/>
              </a:buClr>
            </a:pPr>
            <a:r>
              <a:rPr lang="en-US" sz="1050" dirty="0">
                <a:solidFill>
                  <a:srgbClr val="000000"/>
                </a:solidFill>
              </a:rPr>
              <a:t>Lowering energy utilization</a:t>
            </a:r>
          </a:p>
          <a:p>
            <a:pPr lvl="1" indent="-169863">
              <a:spcBef>
                <a:spcPct val="20000"/>
              </a:spcBef>
              <a:buClr>
                <a:srgbClr val="707070"/>
              </a:buClr>
              <a:buFont typeface="Arial" charset="0"/>
              <a:buChar char="-"/>
            </a:pPr>
            <a:r>
              <a:rPr lang="en-US" sz="1200" dirty="0">
                <a:solidFill>
                  <a:srgbClr val="000000"/>
                </a:solidFill>
                <a:latin typeface="Arial"/>
                <a:ea typeface="Arial" charset="0"/>
                <a:cs typeface="Arial" pitchFamily="34" charset="0"/>
              </a:rPr>
              <a:t>Extending useful catalyst lifetime</a:t>
            </a:r>
          </a:p>
          <a:p>
            <a:pPr lvl="1" indent="-169863">
              <a:spcBef>
                <a:spcPct val="20000"/>
              </a:spcBef>
              <a:buClr>
                <a:srgbClr val="707070"/>
              </a:buClr>
              <a:buFont typeface="Arial" charset="0"/>
              <a:buChar char="-"/>
            </a:pPr>
            <a:r>
              <a:rPr lang="en-US" sz="1200" dirty="0">
                <a:solidFill>
                  <a:srgbClr val="000000"/>
                </a:solidFill>
                <a:latin typeface="Arial"/>
                <a:ea typeface="Arial" charset="0"/>
                <a:cs typeface="Arial" pitchFamily="34" charset="0"/>
              </a:rPr>
              <a:t>Benchmarking site-to-site operations</a:t>
            </a:r>
          </a:p>
          <a:p>
            <a:pPr lvl="1">
              <a:buClr>
                <a:srgbClr val="707070"/>
              </a:buClr>
            </a:pPr>
            <a:endParaRPr lang="en-US" sz="1200" dirty="0">
              <a:solidFill>
                <a:srgbClr val="000000"/>
              </a:solidFill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E59ADA-CF08-9440-BACD-BF7F5C851E71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6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>
              <a:defRPr/>
            </a:pPr>
            <a:fld id="{3E331B8E-8367-484B-A8E1-4F66972AFBB0}" type="datetime1">
              <a:rPr lang="en-US" smtClean="0">
                <a:solidFill>
                  <a:prstClr val="black"/>
                </a:solidFill>
              </a:rPr>
              <a:t>6/18/2017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Header Placeholder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 smtClean="0">
                <a:solidFill>
                  <a:prstClr val="black"/>
                </a:solidFill>
              </a:rPr>
              <a:t>2016 EMEA HUG_Hird_Day2_FINAL as presented_26Oct2016.pptx</a:t>
            </a:r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997469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everaging new technology and much more reliable high-speed Wi-Fi connections, the Connected Aircraft connects an airplane’s components and equipment, enabling each to immediately send, receive and analyze data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 Connected Aircraft revolutionizes modern-day flying, dramatically improving fleet management, flight safety, passenger experience, maintenance,</a:t>
            </a:r>
            <a:r>
              <a:rPr lang="en-US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flight operations, aircraft turnaround time and costs. 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sing big data, analytics, and secure communications technology, we are now better able to anticipate opportunities – to avoid weather, to avoid disruption, to avoid cost, to drive faster turnaround times.  </a:t>
            </a:r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dirty="0" smtClean="0"/>
          </a:p>
          <a:p>
            <a:pPr marL="0" marR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1200" dirty="0" smtClean="0">
              <a:solidFill>
                <a:schemeClr val="bg1"/>
              </a:solidFill>
              <a:cs typeface="Arial" panose="020B0604020202020204" pitchFamily="34" charset="0"/>
            </a:endParaRPr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77FC6C9-3F2A-4303-AD26-6D1FDF078F50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089905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ith the proliferation of satellite communications, and the transformation of planes from analog vehicles into digital nodes in the sky, planes are generating more data now than ever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is incredible amount of data has the potential to address</a:t>
            </a:r>
            <a:r>
              <a:rPr lang="en-US" sz="1000" kern="1200" baseline="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some of the industry’s most challenging issues: fuel efficiency and environmental impact; aircraft availability, passenger demand for connectivity, cost efficiency and more</a:t>
            </a:r>
            <a:r>
              <a:rPr lang="en-US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sz="1200" b="1" i="1" dirty="0" smtClean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77FC6C9-3F2A-4303-AD26-6D1FDF078F50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111672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ese are just some examples</a:t>
            </a:r>
            <a:r>
              <a:rPr lang="en-US" sz="1000" kern="1200" baseline="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of the benefits that connectivity can bring. 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kern="1200" baseline="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ach of the examples are real – Honeywell has been able to demonstrate these benefits with our current connected offerings.  </a:t>
            </a:r>
            <a:endParaRPr lang="en-US" sz="1000" kern="1200" dirty="0" smtClean="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1000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or example, Honeywell’s </a:t>
            </a:r>
            <a:r>
              <a:rPr lang="en-US" sz="1000" b="0" kern="1200" dirty="0" err="1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GoDirect</a:t>
            </a:r>
            <a:r>
              <a:rPr lang="en-US" sz="1000" b="0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Fuel Efficiency </a:t>
            </a:r>
            <a:r>
              <a:rPr lang="en-US" sz="1000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oftware collects data from airline IT systems to provide data analysis and reporting</a:t>
            </a:r>
            <a:r>
              <a:rPr lang="en-US" sz="1000" kern="1200" baseline="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which can </a:t>
            </a:r>
            <a:r>
              <a:rPr lang="en-US" sz="1000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ptimize fuel usage with as much as 5 percent annual fuel savings, and drive reduced emissions. 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1000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or example, </a:t>
            </a:r>
            <a:r>
              <a:rPr lang="en-US" sz="1000" kern="1200" dirty="0" err="1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GoDirect</a:t>
            </a:r>
            <a:r>
              <a:rPr lang="en-US" sz="1000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Weather Information Service may save airlines from $25,000 to $100,000 per aircraft annually through avoiding hazardous conditions, reducing delays and diversions, lowering anti-ice usage, and decreasing maintenance costs and downtime.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1000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or example, Honeywell’s JetWave hardware which enables GX Aviation</a:t>
            </a:r>
            <a:r>
              <a:rPr lang="en-US" sz="1000" kern="1200" baseline="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is the first truly global broadband high-speed network. It is up to 100 times faster than other </a:t>
            </a:r>
            <a:r>
              <a:rPr lang="en-US" sz="1000" u="sng" kern="1200" baseline="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global satellite networks</a:t>
            </a:r>
            <a:r>
              <a:rPr lang="en-US" sz="1000" u="none" kern="1200" baseline="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available</a:t>
            </a:r>
            <a:r>
              <a:rPr lang="en-US" sz="1000" kern="1200" baseline="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today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kern="1200" baseline="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ith data analytics and our Sentience platform, the opportunities go well beyond just these examples – we can work with you to review your own operations to see what is possible.  </a:t>
            </a:r>
            <a:endParaRPr lang="en-US" sz="1000" kern="1200" dirty="0" smtClean="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77FC6C9-3F2A-4303-AD26-6D1FDF078F50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1130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6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8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10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-Imag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/>
          <p:nvPr userDrawn="1"/>
        </p:nvCxnSpPr>
        <p:spPr>
          <a:xfrm>
            <a:off x="2851150" y="5959475"/>
            <a:ext cx="0" cy="492125"/>
          </a:xfrm>
          <a:prstGeom prst="line">
            <a:avLst/>
          </a:prstGeom>
          <a:ln w="9525" cmpd="sng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9"/>
          <p:cNvSpPr>
            <a:spLocks noGrp="1"/>
          </p:cNvSpPr>
          <p:nvPr>
            <p:ph type="body" sz="quarter" idx="13"/>
          </p:nvPr>
        </p:nvSpPr>
        <p:spPr>
          <a:xfrm>
            <a:off x="2864782" y="6222292"/>
            <a:ext cx="6617885" cy="254118"/>
          </a:xfrm>
          <a:prstGeom prst="rect">
            <a:avLst/>
          </a:prstGeom>
        </p:spPr>
        <p:txBody>
          <a:bodyPr vert="horz" anchor="ctr"/>
          <a:lstStyle>
            <a:lvl1pPr>
              <a:defRPr sz="16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Text Placeholder 17"/>
          <p:cNvSpPr>
            <a:spLocks noGrp="1"/>
          </p:cNvSpPr>
          <p:nvPr>
            <p:ph type="body" sz="quarter" idx="12"/>
          </p:nvPr>
        </p:nvSpPr>
        <p:spPr>
          <a:xfrm>
            <a:off x="2864781" y="5960247"/>
            <a:ext cx="6617887" cy="249655"/>
          </a:xfrm>
          <a:prstGeom prst="rect">
            <a:avLst/>
          </a:prstGeom>
        </p:spPr>
        <p:txBody>
          <a:bodyPr vert="horz" anchor="ctr"/>
          <a:lstStyle>
            <a:lvl1pPr>
              <a:defRPr sz="2400" b="1" i="0" cap="all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Content Placeholder 6"/>
          <p:cNvSpPr>
            <a:spLocks noGrp="1"/>
          </p:cNvSpPr>
          <p:nvPr>
            <p:ph sz="quarter" idx="10"/>
          </p:nvPr>
        </p:nvSpPr>
        <p:spPr>
          <a:xfrm>
            <a:off x="266700" y="5949950"/>
            <a:ext cx="2483273" cy="236792"/>
          </a:xfrm>
          <a:prstGeom prst="rect">
            <a:avLst/>
          </a:prstGeom>
        </p:spPr>
        <p:txBody>
          <a:bodyPr vert="horz" anchor="t"/>
          <a:lstStyle>
            <a:lvl1pPr algn="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66699" y="6199311"/>
            <a:ext cx="2483275" cy="248524"/>
          </a:xfrm>
          <a:prstGeom prst="rect">
            <a:avLst/>
          </a:prstGeom>
        </p:spPr>
        <p:txBody>
          <a:bodyPr vert="horz"/>
          <a:lstStyle>
            <a:lvl1pPr algn="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7300728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Up Layout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214313" y="6364288"/>
            <a:ext cx="11977687" cy="493712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9" name="Round Single Corner Rectangle 8"/>
          <p:cNvSpPr/>
          <p:nvPr userDrawn="1"/>
        </p:nvSpPr>
        <p:spPr>
          <a:xfrm>
            <a:off x="0" y="6364288"/>
            <a:ext cx="115839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10" name="Straight Connector 9"/>
          <p:cNvCxnSpPr/>
          <p:nvPr userDrawn="1"/>
        </p:nvCxnSpPr>
        <p:spPr bwMode="auto">
          <a:xfrm flipH="1">
            <a:off x="714375" y="3709988"/>
            <a:ext cx="10531475" cy="0"/>
          </a:xfrm>
          <a:prstGeom prst="line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/>
            <a:ext uri="{AF507438-7753-43e0-B8FC-AC1667EBCBE1}"/>
          </a:extLst>
        </p:spPr>
      </p:cxnSp>
      <p:cxnSp>
        <p:nvCxnSpPr>
          <p:cNvPr id="11" name="Straight Connector 10"/>
          <p:cNvCxnSpPr/>
          <p:nvPr userDrawn="1"/>
        </p:nvCxnSpPr>
        <p:spPr bwMode="auto">
          <a:xfrm>
            <a:off x="6008688" y="996950"/>
            <a:ext cx="0" cy="5184775"/>
          </a:xfrm>
          <a:prstGeom prst="line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/>
            <a:ext uri="{AF507438-7753-43e0-B8FC-AC1667EBCBE1}"/>
          </a:extLst>
        </p:spPr>
      </p:cxn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714108" y="364859"/>
            <a:ext cx="10472508" cy="48535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5" name="Content Placeholder 4"/>
          <p:cNvSpPr>
            <a:spLocks noGrp="1"/>
          </p:cNvSpPr>
          <p:nvPr>
            <p:ph sz="quarter" idx="23"/>
          </p:nvPr>
        </p:nvSpPr>
        <p:spPr>
          <a:xfrm>
            <a:off x="714108" y="3796577"/>
            <a:ext cx="5165333" cy="2385149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buClr>
                <a:schemeClr val="accent3"/>
              </a:buClr>
              <a:defRPr>
                <a:latin typeface="+mn-lt"/>
              </a:defRPr>
            </a:lvl2pPr>
            <a:lvl3pPr>
              <a:buClr>
                <a:schemeClr val="accent3"/>
              </a:buClr>
              <a:defRPr>
                <a:latin typeface="+mn-lt"/>
              </a:defRPr>
            </a:lvl3pPr>
            <a:lvl4pPr marL="1600200" indent="-228600">
              <a:buClr>
                <a:schemeClr val="accent3"/>
              </a:buClr>
              <a:buFont typeface="Arial" panose="020B0604020202020204" pitchFamily="34" charset="0"/>
              <a:buChar char="-"/>
              <a:defRPr sz="1400">
                <a:latin typeface="+mn-lt"/>
                <a:cs typeface="Arial" panose="020B0604020202020204" pitchFamily="34" charset="0"/>
              </a:defRPr>
            </a:lvl4pPr>
            <a:lvl5pPr>
              <a:buClr>
                <a:schemeClr val="accent3"/>
              </a:buClr>
              <a:defRPr sz="1400"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6" name="Content Placeholder 4"/>
          <p:cNvSpPr>
            <a:spLocks noGrp="1"/>
          </p:cNvSpPr>
          <p:nvPr>
            <p:ph sz="quarter" idx="24"/>
          </p:nvPr>
        </p:nvSpPr>
        <p:spPr>
          <a:xfrm>
            <a:off x="6123482" y="3796577"/>
            <a:ext cx="5063134" cy="2385149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buClr>
                <a:schemeClr val="accent3"/>
              </a:buClr>
              <a:defRPr>
                <a:latin typeface="+mn-lt"/>
              </a:defRPr>
            </a:lvl2pPr>
            <a:lvl3pPr>
              <a:buClr>
                <a:schemeClr val="accent3"/>
              </a:buClr>
              <a:defRPr>
                <a:latin typeface="+mn-lt"/>
              </a:defRPr>
            </a:lvl3pPr>
            <a:lvl4pPr marL="1600200" indent="-228600">
              <a:buClr>
                <a:schemeClr val="accent3"/>
              </a:buClr>
              <a:buFont typeface="Arial" panose="020B0604020202020204" pitchFamily="34" charset="0"/>
              <a:buChar char="-"/>
              <a:defRPr sz="1400">
                <a:latin typeface="+mn-lt"/>
                <a:cs typeface="Arial" panose="020B0604020202020204" pitchFamily="34" charset="0"/>
              </a:defRPr>
            </a:lvl4pPr>
            <a:lvl5pPr>
              <a:buClr>
                <a:schemeClr val="accent3"/>
              </a:buClr>
              <a:defRPr sz="1400"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8" name="Content Placeholder 4"/>
          <p:cNvSpPr>
            <a:spLocks noGrp="1"/>
          </p:cNvSpPr>
          <p:nvPr>
            <p:ph sz="quarter" idx="12"/>
          </p:nvPr>
        </p:nvSpPr>
        <p:spPr>
          <a:xfrm>
            <a:off x="714108" y="1005841"/>
            <a:ext cx="5165333" cy="2624429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buClr>
                <a:schemeClr val="accent3"/>
              </a:buClr>
              <a:defRPr>
                <a:latin typeface="+mn-lt"/>
              </a:defRPr>
            </a:lvl2pPr>
            <a:lvl3pPr>
              <a:buClr>
                <a:schemeClr val="accent3"/>
              </a:buClr>
              <a:defRPr>
                <a:latin typeface="+mn-lt"/>
              </a:defRPr>
            </a:lvl3pPr>
            <a:lvl4pPr marL="1600200" indent="-228600">
              <a:buClr>
                <a:schemeClr val="accent3"/>
              </a:buClr>
              <a:buFont typeface="Arial" panose="020B0604020202020204" pitchFamily="34" charset="0"/>
              <a:buChar char="-"/>
              <a:defRPr sz="1400">
                <a:latin typeface="+mn-lt"/>
                <a:cs typeface="Arial" panose="020B0604020202020204" pitchFamily="34" charset="0"/>
              </a:defRPr>
            </a:lvl4pPr>
            <a:lvl5pPr>
              <a:buClr>
                <a:schemeClr val="accent3"/>
              </a:buClr>
              <a:defRPr sz="1400"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9" name="Content Placeholder 4"/>
          <p:cNvSpPr>
            <a:spLocks noGrp="1"/>
          </p:cNvSpPr>
          <p:nvPr>
            <p:ph sz="quarter" idx="25"/>
          </p:nvPr>
        </p:nvSpPr>
        <p:spPr>
          <a:xfrm>
            <a:off x="6123482" y="1005841"/>
            <a:ext cx="5063134" cy="2624429"/>
          </a:xfrm>
          <a:prstGeom prst="rect">
            <a:avLst/>
          </a:prstGeom>
        </p:spPr>
        <p:txBody>
          <a:bodyPr/>
          <a:lstStyle>
            <a:lvl2pPr>
              <a:buClr>
                <a:schemeClr val="accent3"/>
              </a:buClr>
              <a:defRPr>
                <a:latin typeface="+mn-lt"/>
              </a:defRPr>
            </a:lvl2pPr>
            <a:lvl3pPr>
              <a:buClr>
                <a:schemeClr val="accent3"/>
              </a:buClr>
              <a:defRPr>
                <a:latin typeface="+mn-lt"/>
              </a:defRPr>
            </a:lvl3pPr>
            <a:lvl4pPr marL="1600200" indent="-228600">
              <a:buClr>
                <a:schemeClr val="accent3"/>
              </a:buClr>
              <a:buFont typeface="Arial" panose="020B0604020202020204" pitchFamily="34" charset="0"/>
              <a:buChar char="-"/>
              <a:defRPr sz="1400">
                <a:latin typeface="+mn-lt"/>
                <a:cs typeface="Arial" panose="020B0604020202020204" pitchFamily="34" charset="0"/>
              </a:defRPr>
            </a:lvl4pPr>
            <a:lvl5pPr>
              <a:buClr>
                <a:schemeClr val="accent3"/>
              </a:buClr>
              <a:defRPr sz="1400"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9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15384" y="6384610"/>
            <a:ext cx="11063816" cy="457200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26"/>
          </p:nvPr>
        </p:nvSpPr>
        <p:spPr/>
        <p:txBody>
          <a:bodyPr/>
          <a:lstStyle>
            <a:lvl1pPr algn="l">
              <a:defRPr sz="1100" b="1" i="0">
                <a:solidFill>
                  <a:schemeClr val="bg1"/>
                </a:solidFill>
                <a:latin typeface="+mn-lt"/>
                <a:cs typeface="HelveticaNeue MediumCond"/>
              </a:defRPr>
            </a:lvl1pPr>
          </a:lstStyle>
          <a:p>
            <a:pPr>
              <a:defRPr/>
            </a:pPr>
            <a:fld id="{5A60E25D-90C3-4421-A5B5-3BFD0CA09E3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616340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 W/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214313" y="6364288"/>
            <a:ext cx="11977687" cy="493712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5" name="Round Single Corner Rectangle 4"/>
          <p:cNvSpPr/>
          <p:nvPr userDrawn="1"/>
        </p:nvSpPr>
        <p:spPr>
          <a:xfrm>
            <a:off x="0" y="6364288"/>
            <a:ext cx="115839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4240" y="357189"/>
            <a:ext cx="10455164" cy="4984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15384" y="6384610"/>
            <a:ext cx="11063816" cy="457200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 sz="1100"/>
            </a:lvl1pPr>
          </a:lstStyle>
          <a:p>
            <a:pPr>
              <a:defRPr/>
            </a:pPr>
            <a:fld id="{528D6B90-B26E-4C9F-854B-7A7111C42F8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80989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2119726"/>
            <a:ext cx="12192000" cy="498475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7709538-BB9A-4E8C-A50F-1F4EB6EDDBD2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39905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14568" y="357810"/>
            <a:ext cx="10507948" cy="498610"/>
          </a:xfrm>
        </p:spPr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714568" y="1005840"/>
            <a:ext cx="10507947" cy="5308600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3"/>
              </a:buClr>
              <a:defRPr/>
            </a:lvl2pPr>
            <a:lvl3pPr>
              <a:buClr>
                <a:schemeClr val="accent3"/>
              </a:buClr>
              <a:defRPr/>
            </a:lvl3pPr>
            <a:lvl4pPr marL="1600200" indent="-228600">
              <a:buClr>
                <a:schemeClr val="accent3"/>
              </a:buClr>
              <a:buFont typeface="Arial" panose="020B0604020202020204" pitchFamily="34" charset="0"/>
              <a:buChar char="-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accent3"/>
              </a:buCl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01CF92D-F73E-4FD6-B86E-3C840DA0E86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5576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213784" y="6348098"/>
            <a:ext cx="11978216" cy="493712"/>
          </a:xfrm>
          <a:prstGeom prst="rect">
            <a:avLst/>
          </a:prstGeom>
          <a:solidFill>
            <a:srgbClr val="FBFBFB"/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14240" y="357191"/>
            <a:ext cx="10523336" cy="498475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11645902" y="-143"/>
            <a:ext cx="675217" cy="504825"/>
          </a:xfrm>
          <a:prstGeom prst="rect">
            <a:avLst/>
          </a:prstGeom>
        </p:spPr>
        <p:txBody>
          <a:bodyPr/>
          <a:lstStyle>
            <a:lvl1pPr>
              <a:defRPr sz="825"/>
            </a:lvl1pPr>
          </a:lstStyle>
          <a:p>
            <a:pPr>
              <a:defRPr/>
            </a:pPr>
            <a:fld id="{FF1F74E8-2156-B64F-A723-2FC713503C5D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Round Single Corner Rectangle 3"/>
          <p:cNvSpPr/>
          <p:nvPr userDrawn="1"/>
        </p:nvSpPr>
        <p:spPr>
          <a:xfrm>
            <a:off x="0" y="6364291"/>
            <a:ext cx="11584517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5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15384" y="6384610"/>
            <a:ext cx="11063816" cy="457200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840366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 title - with cur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Honeywell Cond" panose="020B0806030202060103" pitchFamily="34" charset="0"/>
              </a:defRPr>
            </a:lvl1pPr>
          </a:lstStyle>
          <a:p>
            <a:pPr>
              <a:defRPr/>
            </a:pPr>
            <a:fld id="{BFCBBC14-82E5-48B4-B893-A4855DF86426}" type="slidenum">
              <a:rPr lang="en-US" smtClean="0">
                <a:solidFill>
                  <a:srgbClr val="FFFFFF">
                    <a:lumMod val="6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>
                  <a:lumMod val="6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5823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- with cur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Honeywell Cond" panose="020B0806030202060103" pitchFamily="34" charset="0"/>
              </a:defRPr>
            </a:lvl1pPr>
          </a:lstStyle>
          <a:p>
            <a:pPr>
              <a:defRPr/>
            </a:pPr>
            <a:fld id="{BFCBBC14-82E5-48B4-B893-A4855DF86426}" type="slidenum">
              <a:rPr lang="en-US" smtClean="0">
                <a:solidFill>
                  <a:srgbClr val="FFFFFF">
                    <a:lumMod val="6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>
                  <a:lumMod val="65000"/>
                </a:srgbClr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53386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6435" y="357189"/>
            <a:ext cx="10803467" cy="4984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507CDF7-639A-493B-9864-E44793A05DF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158720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5048859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714568" y="357810"/>
            <a:ext cx="10507948" cy="498610"/>
          </a:xfrm>
        </p:spPr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11645901" y="-143"/>
            <a:ext cx="675217" cy="5048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9814D0C-58DA-754D-96DF-668AE432F1BF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714568" y="1005840"/>
            <a:ext cx="10507947" cy="5308600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3"/>
              </a:buClr>
              <a:defRPr/>
            </a:lvl2pPr>
            <a:lvl3pPr>
              <a:buClr>
                <a:schemeClr val="accent3"/>
              </a:buClr>
              <a:defRPr/>
            </a:lvl3pPr>
            <a:lvl4pPr marL="1600200" indent="-228600">
              <a:buClr>
                <a:schemeClr val="accent3"/>
              </a:buClr>
              <a:buFont typeface="Arial" panose="020B0604020202020204" pitchFamily="34" charset="0"/>
              <a:buChar char="-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accent3"/>
              </a:buCl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781836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-Imag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/>
          <p:nvPr userDrawn="1"/>
        </p:nvCxnSpPr>
        <p:spPr>
          <a:xfrm>
            <a:off x="2852738" y="5959475"/>
            <a:ext cx="0" cy="492125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 userDrawn="1"/>
        </p:nvCxnSpPr>
        <p:spPr>
          <a:xfrm>
            <a:off x="2851150" y="5959475"/>
            <a:ext cx="0" cy="492125"/>
          </a:xfrm>
          <a:prstGeom prst="line">
            <a:avLst/>
          </a:prstGeom>
          <a:ln w="9525" cmpd="sng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19"/>
          <p:cNvSpPr>
            <a:spLocks noGrp="1"/>
          </p:cNvSpPr>
          <p:nvPr>
            <p:ph type="body" sz="quarter" idx="13"/>
          </p:nvPr>
        </p:nvSpPr>
        <p:spPr>
          <a:xfrm>
            <a:off x="2864782" y="6222292"/>
            <a:ext cx="6617885" cy="254118"/>
          </a:xfrm>
          <a:prstGeom prst="rect">
            <a:avLst/>
          </a:prstGeom>
        </p:spPr>
        <p:txBody>
          <a:bodyPr vert="horz" anchor="ctr"/>
          <a:lstStyle>
            <a:lvl1pPr>
              <a:defRPr sz="16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2"/>
          </p:nvPr>
        </p:nvSpPr>
        <p:spPr>
          <a:xfrm>
            <a:off x="2864781" y="5960247"/>
            <a:ext cx="6617887" cy="249655"/>
          </a:xfrm>
          <a:prstGeom prst="rect">
            <a:avLst/>
          </a:prstGeom>
        </p:spPr>
        <p:txBody>
          <a:bodyPr vert="horz" anchor="ctr"/>
          <a:lstStyle>
            <a:lvl1pPr>
              <a:defRPr sz="2400" b="1" i="0" cap="all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Content Placeholder 6"/>
          <p:cNvSpPr>
            <a:spLocks noGrp="1"/>
          </p:cNvSpPr>
          <p:nvPr>
            <p:ph sz="quarter" idx="10"/>
          </p:nvPr>
        </p:nvSpPr>
        <p:spPr>
          <a:xfrm>
            <a:off x="266700" y="5949950"/>
            <a:ext cx="2483273" cy="236792"/>
          </a:xfrm>
          <a:prstGeom prst="rect">
            <a:avLst/>
          </a:prstGeom>
        </p:spPr>
        <p:txBody>
          <a:bodyPr vert="horz" anchor="t"/>
          <a:lstStyle>
            <a:lvl1pPr algn="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66699" y="6199311"/>
            <a:ext cx="2483275" cy="248524"/>
          </a:xfrm>
          <a:prstGeom prst="rect">
            <a:avLst/>
          </a:prstGeom>
        </p:spPr>
        <p:txBody>
          <a:bodyPr vert="horz"/>
          <a:lstStyle>
            <a:lvl1pPr algn="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2826444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714567" y="357810"/>
            <a:ext cx="10499918" cy="49861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11645901" y="-143"/>
            <a:ext cx="675217" cy="5048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570C130-3947-5746-9F16-5E7E49C44C45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Content Placeholder 4"/>
          <p:cNvSpPr>
            <a:spLocks noGrp="1"/>
          </p:cNvSpPr>
          <p:nvPr>
            <p:ph sz="quarter" idx="12"/>
          </p:nvPr>
        </p:nvSpPr>
        <p:spPr>
          <a:xfrm>
            <a:off x="714793" y="1005840"/>
            <a:ext cx="5160304" cy="5308600"/>
          </a:xfrm>
          <a:prstGeom prst="rect">
            <a:avLst/>
          </a:prstGeom>
        </p:spPr>
        <p:txBody>
          <a:bodyPr/>
          <a:lstStyle>
            <a:lvl1pPr>
              <a:buClr>
                <a:schemeClr val="tx2"/>
              </a:buClr>
              <a:defRPr>
                <a:latin typeface="+mn-lt"/>
              </a:defRPr>
            </a:lvl1pPr>
            <a:lvl2pPr>
              <a:buClr>
                <a:schemeClr val="accent3"/>
              </a:buClr>
              <a:defRPr>
                <a:latin typeface="+mn-lt"/>
              </a:defRPr>
            </a:lvl2pPr>
            <a:lvl3pPr>
              <a:buClr>
                <a:schemeClr val="accent3"/>
              </a:buClr>
              <a:defRPr>
                <a:latin typeface="+mn-lt"/>
              </a:defRPr>
            </a:lvl3pPr>
            <a:lvl4pPr marL="1600200" indent="-228600">
              <a:buClr>
                <a:schemeClr val="accent3"/>
              </a:buClr>
              <a:buFont typeface="Arial" panose="020B0604020202020204" pitchFamily="34" charset="0"/>
              <a:buChar char="-"/>
              <a:defRPr sz="1400">
                <a:latin typeface="+mn-lt"/>
                <a:cs typeface="Arial" panose="020B0604020202020204" pitchFamily="34" charset="0"/>
              </a:defRPr>
            </a:lvl4pPr>
            <a:lvl5pPr>
              <a:buClr>
                <a:schemeClr val="accent3"/>
              </a:buClr>
              <a:defRPr sz="1400"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Content Placeholder 4"/>
          <p:cNvSpPr>
            <a:spLocks noGrp="1"/>
          </p:cNvSpPr>
          <p:nvPr>
            <p:ph sz="quarter" idx="15"/>
          </p:nvPr>
        </p:nvSpPr>
        <p:spPr>
          <a:xfrm>
            <a:off x="6150445" y="1005840"/>
            <a:ext cx="5064040" cy="53086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 marL="1600200" indent="-228600">
              <a:buClr>
                <a:schemeClr val="accent3"/>
              </a:buClr>
              <a:buFont typeface="Arial" panose="020B0604020202020204" pitchFamily="34" charset="0"/>
              <a:buChar char="-"/>
              <a:defRPr sz="1400">
                <a:latin typeface="+mn-lt"/>
                <a:cs typeface="Arial" panose="020B0604020202020204" pitchFamily="34" charset="0"/>
              </a:defRPr>
            </a:lvl4pPr>
            <a:lvl5pPr>
              <a:buClr>
                <a:schemeClr val="accent3"/>
              </a:buClr>
              <a:defRPr sz="1400"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 bwMode="auto">
          <a:xfrm>
            <a:off x="6008640" y="996697"/>
            <a:ext cx="0" cy="5334129"/>
          </a:xfrm>
          <a:prstGeom prst="line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378513599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Up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 bwMode="auto">
          <a:xfrm flipH="1">
            <a:off x="714240" y="3710164"/>
            <a:ext cx="10531033" cy="0"/>
          </a:xfrm>
          <a:prstGeom prst="line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" name="Straight Connector 7"/>
          <p:cNvCxnSpPr/>
          <p:nvPr userDrawn="1"/>
        </p:nvCxnSpPr>
        <p:spPr bwMode="auto">
          <a:xfrm>
            <a:off x="6008640" y="996697"/>
            <a:ext cx="0" cy="5334129"/>
          </a:xfrm>
          <a:prstGeom prst="line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714240" y="364798"/>
            <a:ext cx="10531033" cy="51206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21"/>
          </p:nvPr>
        </p:nvSpPr>
        <p:spPr>
          <a:xfrm>
            <a:off x="11645901" y="-143"/>
            <a:ext cx="675217" cy="504825"/>
          </a:xfrm>
          <a:prstGeom prst="rect">
            <a:avLst/>
          </a:prstGeom>
        </p:spPr>
        <p:txBody>
          <a:bodyPr/>
          <a:lstStyle>
            <a:lvl1pPr algn="l">
              <a:defRPr sz="1100" b="1" i="0">
                <a:solidFill>
                  <a:schemeClr val="bg1"/>
                </a:solidFill>
                <a:latin typeface="+mn-lt"/>
                <a:cs typeface="HelveticaNeue MediumCond"/>
              </a:defRPr>
            </a:lvl1pPr>
          </a:lstStyle>
          <a:p>
            <a:pPr>
              <a:defRPr/>
            </a:pPr>
            <a:fld id="{E075DB8A-71E0-F944-83F6-A83A2D996DB4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Content Placeholder 4"/>
          <p:cNvSpPr>
            <a:spLocks noGrp="1"/>
          </p:cNvSpPr>
          <p:nvPr>
            <p:ph sz="quarter" idx="12"/>
          </p:nvPr>
        </p:nvSpPr>
        <p:spPr>
          <a:xfrm>
            <a:off x="714240" y="1005841"/>
            <a:ext cx="5172338" cy="2624429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buClr>
                <a:schemeClr val="accent3"/>
              </a:buClr>
              <a:defRPr>
                <a:latin typeface="+mn-lt"/>
              </a:defRPr>
            </a:lvl2pPr>
            <a:lvl3pPr>
              <a:buClr>
                <a:schemeClr val="accent3"/>
              </a:buClr>
              <a:defRPr>
                <a:latin typeface="+mn-lt"/>
              </a:defRPr>
            </a:lvl3pPr>
            <a:lvl4pPr marL="1600200" indent="-228600">
              <a:buClr>
                <a:schemeClr val="accent3"/>
              </a:buClr>
              <a:buFont typeface="Arial" panose="020B0604020202020204" pitchFamily="34" charset="0"/>
              <a:buChar char="-"/>
              <a:defRPr sz="1400">
                <a:latin typeface="+mn-lt"/>
                <a:cs typeface="Arial" panose="020B0604020202020204" pitchFamily="34" charset="0"/>
              </a:defRPr>
            </a:lvl4pPr>
            <a:lvl5pPr>
              <a:buClr>
                <a:schemeClr val="accent3"/>
              </a:buClr>
              <a:defRPr sz="1400"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1" name="Content Placeholder 4"/>
          <p:cNvSpPr>
            <a:spLocks noGrp="1"/>
          </p:cNvSpPr>
          <p:nvPr>
            <p:ph sz="quarter" idx="15"/>
          </p:nvPr>
        </p:nvSpPr>
        <p:spPr>
          <a:xfrm>
            <a:off x="6134782" y="1005841"/>
            <a:ext cx="5110491" cy="2624429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buClr>
                <a:schemeClr val="accent3"/>
              </a:buClr>
              <a:defRPr>
                <a:latin typeface="+mn-lt"/>
              </a:defRPr>
            </a:lvl2pPr>
            <a:lvl3pPr>
              <a:buClr>
                <a:schemeClr val="accent3"/>
              </a:buClr>
              <a:defRPr>
                <a:latin typeface="+mn-lt"/>
              </a:defRPr>
            </a:lvl3pPr>
            <a:lvl4pPr marL="1600200" indent="-228600">
              <a:buClr>
                <a:schemeClr val="accent3"/>
              </a:buClr>
              <a:buFont typeface="Arial" panose="020B0604020202020204" pitchFamily="34" charset="0"/>
              <a:buChar char="-"/>
              <a:defRPr sz="1400">
                <a:latin typeface="+mn-lt"/>
                <a:cs typeface="Arial" panose="020B0604020202020204" pitchFamily="34" charset="0"/>
              </a:defRPr>
            </a:lvl4pPr>
            <a:lvl5pPr>
              <a:buClr>
                <a:schemeClr val="accent3"/>
              </a:buClr>
              <a:defRPr sz="1400"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ontent Placeholder 4"/>
          <p:cNvSpPr>
            <a:spLocks noGrp="1"/>
          </p:cNvSpPr>
          <p:nvPr>
            <p:ph sz="quarter" idx="22"/>
          </p:nvPr>
        </p:nvSpPr>
        <p:spPr>
          <a:xfrm>
            <a:off x="714240" y="3796577"/>
            <a:ext cx="5172338" cy="2534249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buClr>
                <a:schemeClr val="accent3"/>
              </a:buClr>
              <a:defRPr>
                <a:latin typeface="+mn-lt"/>
              </a:defRPr>
            </a:lvl2pPr>
            <a:lvl3pPr>
              <a:buClr>
                <a:schemeClr val="accent3"/>
              </a:buClr>
              <a:defRPr>
                <a:latin typeface="+mn-lt"/>
              </a:defRPr>
            </a:lvl3pPr>
            <a:lvl4pPr marL="1600200" indent="-228600">
              <a:buClr>
                <a:schemeClr val="accent3"/>
              </a:buClr>
              <a:buFont typeface="Arial" panose="020B0604020202020204" pitchFamily="34" charset="0"/>
              <a:buChar char="-"/>
              <a:defRPr sz="1400">
                <a:latin typeface="+mn-lt"/>
                <a:cs typeface="Arial" panose="020B0604020202020204" pitchFamily="34" charset="0"/>
              </a:defRPr>
            </a:lvl4pPr>
            <a:lvl5pPr>
              <a:buClr>
                <a:schemeClr val="accent3"/>
              </a:buClr>
              <a:defRPr sz="1400"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3" name="Content Placeholder 4"/>
          <p:cNvSpPr>
            <a:spLocks noGrp="1"/>
          </p:cNvSpPr>
          <p:nvPr>
            <p:ph sz="quarter" idx="23"/>
          </p:nvPr>
        </p:nvSpPr>
        <p:spPr>
          <a:xfrm>
            <a:off x="6134782" y="3796577"/>
            <a:ext cx="5110491" cy="2534249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buClr>
                <a:schemeClr val="accent3"/>
              </a:buClr>
              <a:defRPr>
                <a:latin typeface="+mn-lt"/>
              </a:defRPr>
            </a:lvl2pPr>
            <a:lvl3pPr>
              <a:buClr>
                <a:schemeClr val="accent3"/>
              </a:buClr>
              <a:defRPr>
                <a:latin typeface="+mn-lt"/>
              </a:defRPr>
            </a:lvl3pPr>
            <a:lvl4pPr marL="1600200" indent="-228600">
              <a:buClr>
                <a:schemeClr val="accent3"/>
              </a:buClr>
              <a:buFont typeface="Arial" panose="020B0604020202020204" pitchFamily="34" charset="0"/>
              <a:buChar char="-"/>
              <a:defRPr sz="1400">
                <a:latin typeface="+mn-lt"/>
                <a:cs typeface="Arial" panose="020B0604020202020204" pitchFamily="34" charset="0"/>
              </a:defRPr>
            </a:lvl4pPr>
            <a:lvl5pPr>
              <a:buClr>
                <a:schemeClr val="accent3"/>
              </a:buClr>
              <a:defRPr sz="1400"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extBox 1"/>
          <p:cNvSpPr txBox="1"/>
          <p:nvPr userDrawn="1"/>
        </p:nvSpPr>
        <p:spPr>
          <a:xfrm>
            <a:off x="1667435" y="6804212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>
              <a:solidFill>
                <a:srgbClr val="000000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1941199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14240" y="357189"/>
            <a:ext cx="10523336" cy="498475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11645901" y="-143"/>
            <a:ext cx="675217" cy="504825"/>
          </a:xfrm>
          <a:prstGeom prst="rect">
            <a:avLst/>
          </a:prstGeom>
        </p:spPr>
        <p:txBody>
          <a:bodyPr/>
          <a:lstStyle>
            <a:lvl1pPr>
              <a:defRPr sz="1100"/>
            </a:lvl1pPr>
          </a:lstStyle>
          <a:p>
            <a:pPr>
              <a:defRPr/>
            </a:pPr>
            <a:fld id="{FF1F74E8-2156-B64F-A723-2FC713503C5D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65332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2119726"/>
            <a:ext cx="12192000" cy="498475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8E27D68-75D7-1046-B88F-55C44A5ED9A6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831220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09787" y="357810"/>
            <a:ext cx="10669812" cy="498610"/>
          </a:xfrm>
        </p:spPr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709787" y="1005840"/>
            <a:ext cx="10669813" cy="5308600"/>
          </a:xfrm>
          <a:prstGeom prst="rect">
            <a:avLst/>
          </a:prstGeom>
        </p:spPr>
        <p:txBody>
          <a:bodyPr/>
          <a:lstStyle>
            <a:lvl4pPr marL="1600200" indent="-228600">
              <a:buClr>
                <a:schemeClr val="accent2"/>
              </a:buClr>
              <a:buFont typeface="Arial" panose="020B0604020202020204" pitchFamily="34" charset="0"/>
              <a:buChar char="-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accent2"/>
              </a:buCl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fld id="{FA3F9965-88A6-4677-949D-A01BE6EF631D}" type="slidenum">
              <a:rPr lang="en-US" altLang="en-US">
                <a:solidFill>
                  <a:srgbClr val="FFFFFF"/>
                </a:solidFill>
              </a:rPr>
              <a:pPr/>
              <a:t>‹#›</a:t>
            </a:fld>
            <a:endParaRPr lang="en-US" alt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83137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5992284" y="1000125"/>
            <a:ext cx="0" cy="5314950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709788" y="357810"/>
            <a:ext cx="10657769" cy="49861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Content Placeholder 4"/>
          <p:cNvSpPr>
            <a:spLocks noGrp="1"/>
          </p:cNvSpPr>
          <p:nvPr>
            <p:ph sz="quarter" idx="12"/>
          </p:nvPr>
        </p:nvSpPr>
        <p:spPr>
          <a:xfrm>
            <a:off x="709788" y="1005840"/>
            <a:ext cx="5136321" cy="5308600"/>
          </a:xfrm>
          <a:prstGeom prst="rect">
            <a:avLst/>
          </a:prstGeom>
        </p:spPr>
        <p:txBody>
          <a:bodyPr/>
          <a:lstStyle>
            <a:lvl4pPr marL="1600200" indent="-228600">
              <a:buClr>
                <a:schemeClr val="accent2"/>
              </a:buClr>
              <a:buFont typeface="Arial" panose="020B0604020202020204" pitchFamily="34" charset="0"/>
              <a:buChar char="-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accent2"/>
              </a:buCl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Content Placeholder 4"/>
          <p:cNvSpPr>
            <a:spLocks noGrp="1"/>
          </p:cNvSpPr>
          <p:nvPr>
            <p:ph sz="quarter" idx="15"/>
          </p:nvPr>
        </p:nvSpPr>
        <p:spPr>
          <a:xfrm>
            <a:off x="6129401" y="1005840"/>
            <a:ext cx="5238156" cy="5308600"/>
          </a:xfrm>
          <a:prstGeom prst="rect">
            <a:avLst/>
          </a:prstGeom>
        </p:spPr>
        <p:txBody>
          <a:bodyPr/>
          <a:lstStyle>
            <a:lvl4pPr marL="1600200" indent="-228600">
              <a:buClr>
                <a:schemeClr val="accent2"/>
              </a:buClr>
              <a:buFont typeface="Arial" panose="020B0604020202020204" pitchFamily="34" charset="0"/>
              <a:buChar char="-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accent2"/>
              </a:buCl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fld id="{5E6B746D-A4A0-4D2E-87DC-FFCA674A0EB7}" type="slidenum">
              <a:rPr lang="en-US" altLang="en-US">
                <a:solidFill>
                  <a:srgbClr val="FFFFFF"/>
                </a:solidFill>
              </a:rPr>
              <a:pPr/>
              <a:t>‹#›</a:t>
            </a:fld>
            <a:endParaRPr lang="en-US" alt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943521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-Up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/>
        </p:nvCxnSpPr>
        <p:spPr bwMode="auto">
          <a:xfrm flipH="1">
            <a:off x="706967" y="3698875"/>
            <a:ext cx="10636251" cy="0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/>
            <a:ext uri="{AF507438-7753-43e0-B8FC-AC1667EBCBE1}"/>
          </a:extLst>
        </p:spPr>
      </p:cxnSp>
      <p:cxnSp>
        <p:nvCxnSpPr>
          <p:cNvPr id="8" name="Straight Connector 7"/>
          <p:cNvCxnSpPr/>
          <p:nvPr/>
        </p:nvCxnSpPr>
        <p:spPr bwMode="auto">
          <a:xfrm>
            <a:off x="5990167" y="996950"/>
            <a:ext cx="0" cy="5445125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/>
            <a:ext uri="{AF507438-7753-43e0-B8FC-AC1667EBCBE1}"/>
          </a:extLst>
        </p:spPr>
      </p:cxnSp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706435" y="357947"/>
            <a:ext cx="10637439" cy="51206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Content Placeholder 4"/>
          <p:cNvSpPr>
            <a:spLocks noGrp="1"/>
          </p:cNvSpPr>
          <p:nvPr>
            <p:ph sz="quarter" idx="12"/>
          </p:nvPr>
        </p:nvSpPr>
        <p:spPr>
          <a:xfrm>
            <a:off x="706435" y="1005841"/>
            <a:ext cx="5165427" cy="2624429"/>
          </a:xfrm>
          <a:prstGeom prst="rect">
            <a:avLst/>
          </a:prstGeom>
        </p:spPr>
        <p:txBody>
          <a:bodyPr/>
          <a:lstStyle>
            <a:lvl4pPr marL="1600200" indent="-228600">
              <a:buClr>
                <a:schemeClr val="accent2"/>
              </a:buClr>
              <a:buFont typeface="Arial" panose="020B0604020202020204" pitchFamily="34" charset="0"/>
              <a:buChar char="-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accent2"/>
              </a:buCl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Content Placeholder 4"/>
          <p:cNvSpPr>
            <a:spLocks noGrp="1"/>
          </p:cNvSpPr>
          <p:nvPr>
            <p:ph sz="quarter" idx="15"/>
          </p:nvPr>
        </p:nvSpPr>
        <p:spPr>
          <a:xfrm>
            <a:off x="6135838" y="1005841"/>
            <a:ext cx="5208036" cy="2624429"/>
          </a:xfrm>
          <a:prstGeom prst="rect">
            <a:avLst/>
          </a:prstGeom>
        </p:spPr>
        <p:txBody>
          <a:bodyPr/>
          <a:lstStyle>
            <a:lvl4pPr marL="1600200" indent="-228600">
              <a:buClr>
                <a:schemeClr val="accent2"/>
              </a:buClr>
              <a:buFont typeface="Arial" panose="020B0604020202020204" pitchFamily="34" charset="0"/>
              <a:buChar char="-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accent2"/>
              </a:buCl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Content Placeholder 4"/>
          <p:cNvSpPr>
            <a:spLocks noGrp="1"/>
          </p:cNvSpPr>
          <p:nvPr>
            <p:ph sz="quarter" idx="22"/>
          </p:nvPr>
        </p:nvSpPr>
        <p:spPr>
          <a:xfrm>
            <a:off x="706435" y="3796577"/>
            <a:ext cx="5165427" cy="2624429"/>
          </a:xfrm>
          <a:prstGeom prst="rect">
            <a:avLst/>
          </a:prstGeom>
        </p:spPr>
        <p:txBody>
          <a:bodyPr/>
          <a:lstStyle>
            <a:lvl4pPr marL="1600200" indent="-228600">
              <a:buClr>
                <a:schemeClr val="accent2"/>
              </a:buClr>
              <a:buFont typeface="Arial" panose="020B0604020202020204" pitchFamily="34" charset="0"/>
              <a:buChar char="-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accent2"/>
              </a:buCl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Content Placeholder 4"/>
          <p:cNvSpPr>
            <a:spLocks noGrp="1"/>
          </p:cNvSpPr>
          <p:nvPr>
            <p:ph sz="quarter" idx="23"/>
          </p:nvPr>
        </p:nvSpPr>
        <p:spPr>
          <a:xfrm>
            <a:off x="6135838" y="3796577"/>
            <a:ext cx="5208036" cy="2624429"/>
          </a:xfrm>
          <a:prstGeom prst="rect">
            <a:avLst/>
          </a:prstGeom>
        </p:spPr>
        <p:txBody>
          <a:bodyPr/>
          <a:lstStyle>
            <a:lvl4pPr marL="1600200" indent="-228600">
              <a:buClr>
                <a:schemeClr val="accent2"/>
              </a:buClr>
              <a:buFont typeface="Arial" panose="020B0604020202020204" pitchFamily="34" charset="0"/>
              <a:buChar char="-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accent2"/>
              </a:buCl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/>
            </a:lvl1pPr>
          </a:lstStyle>
          <a:p>
            <a:fld id="{5B6BFA9F-FDCE-4D97-B70A-61660AE14549}" type="slidenum">
              <a:rPr lang="en-US" altLang="en-US">
                <a:solidFill>
                  <a:srgbClr val="FFFFFF"/>
                </a:solidFill>
              </a:rPr>
              <a:pPr/>
              <a:t>‹#›</a:t>
            </a:fld>
            <a:endParaRPr lang="en-US" alt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509971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6435" y="357189"/>
            <a:ext cx="10803467" cy="4984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E54C66C-89B0-4083-B354-C2FB9C83B87C}" type="slidenum">
              <a:rPr lang="en-US" altLang="en-US">
                <a:solidFill>
                  <a:srgbClr val="FFFFFF"/>
                </a:solidFill>
              </a:rPr>
              <a:pPr/>
              <a:t>‹#›</a:t>
            </a:fld>
            <a:endParaRPr lang="en-US" alt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914115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mple Text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214313" y="6364288"/>
            <a:ext cx="11977687" cy="493712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Round Single Corner Rectangle 5"/>
          <p:cNvSpPr/>
          <p:nvPr userDrawn="1"/>
        </p:nvSpPr>
        <p:spPr>
          <a:xfrm>
            <a:off x="0" y="6364288"/>
            <a:ext cx="115839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207963" y="6149975"/>
            <a:ext cx="2516187" cy="200025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 eaLnBrk="1" hangingPunct="1">
              <a:defRPr/>
            </a:pPr>
            <a:r>
              <a:rPr lang="en-US" altLang="en-US" sz="700" smtClean="0">
                <a:solidFill>
                  <a:srgbClr val="707070"/>
                </a:solidFill>
              </a:rPr>
              <a:t>© 2015 by Honeywell International Inc. All rights reserved. 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686104" y="344558"/>
            <a:ext cx="10830680" cy="511862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22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685800" y="1074738"/>
            <a:ext cx="10670117" cy="5059048"/>
          </a:xfrm>
          <a:prstGeom prst="rect">
            <a:avLst/>
          </a:prstGeom>
        </p:spPr>
        <p:txBody>
          <a:bodyPr>
            <a:normAutofit/>
          </a:bodyPr>
          <a:lstStyle>
            <a:lvl2pPr marL="457200" indent="-169863">
              <a:defRPr/>
            </a:lvl2pPr>
            <a:lvl3pPr marL="804863" indent="-177800">
              <a:defRPr/>
            </a:lvl3pPr>
            <a:lvl4pPr marL="1201738" indent="-168275">
              <a:buClr>
                <a:schemeClr val="tx1">
                  <a:lumMod val="50000"/>
                  <a:lumOff val="50000"/>
                </a:schemeClr>
              </a:buClr>
              <a:buFontTx/>
              <a:buChar char="-"/>
              <a:defRPr sz="1400"/>
            </a:lvl4pPr>
            <a:lvl5pPr marL="1719263" indent="-177800">
              <a:buClr>
                <a:schemeClr val="tx1">
                  <a:lumMod val="50000"/>
                  <a:lumOff val="50000"/>
                </a:schemeClr>
              </a:buCl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15384" y="6384610"/>
            <a:ext cx="11063816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7"/>
          </p:nvPr>
        </p:nvSpPr>
        <p:spPr>
          <a:xfrm>
            <a:off x="11645901" y="2"/>
            <a:ext cx="675217" cy="5048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5FEF15B-3260-46BA-AE73-13708383C455}" type="slidenum">
              <a:rPr lang="en-US" alt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615969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ulti-Imag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9"/>
          <p:cNvSpPr>
            <a:spLocks noGrp="1"/>
          </p:cNvSpPr>
          <p:nvPr>
            <p:ph type="body" sz="quarter" idx="13"/>
          </p:nvPr>
        </p:nvSpPr>
        <p:spPr>
          <a:xfrm>
            <a:off x="2864782" y="6222292"/>
            <a:ext cx="6617885" cy="254118"/>
          </a:xfrm>
          <a:prstGeom prst="rect">
            <a:avLst/>
          </a:prstGeom>
        </p:spPr>
        <p:txBody>
          <a:bodyPr vert="horz" anchor="ctr"/>
          <a:lstStyle>
            <a:lvl1pPr>
              <a:defRPr sz="16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Text Placeholder 17"/>
          <p:cNvSpPr>
            <a:spLocks noGrp="1"/>
          </p:cNvSpPr>
          <p:nvPr>
            <p:ph type="body" sz="quarter" idx="12"/>
          </p:nvPr>
        </p:nvSpPr>
        <p:spPr>
          <a:xfrm>
            <a:off x="2864781" y="5960247"/>
            <a:ext cx="6617887" cy="249655"/>
          </a:xfrm>
          <a:prstGeom prst="rect">
            <a:avLst/>
          </a:prstGeom>
        </p:spPr>
        <p:txBody>
          <a:bodyPr vert="horz" anchor="ctr"/>
          <a:lstStyle>
            <a:lvl1pPr>
              <a:defRPr sz="2400" b="1" i="0" cap="all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Content Placeholder 6"/>
          <p:cNvSpPr>
            <a:spLocks noGrp="1"/>
          </p:cNvSpPr>
          <p:nvPr>
            <p:ph sz="quarter" idx="10"/>
          </p:nvPr>
        </p:nvSpPr>
        <p:spPr>
          <a:xfrm>
            <a:off x="266700" y="5949950"/>
            <a:ext cx="2483273" cy="236792"/>
          </a:xfrm>
          <a:prstGeom prst="rect">
            <a:avLst/>
          </a:prstGeom>
        </p:spPr>
        <p:txBody>
          <a:bodyPr vert="horz" anchor="t"/>
          <a:lstStyle>
            <a:lvl1pPr algn="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66699" y="6199311"/>
            <a:ext cx="2483275" cy="248524"/>
          </a:xfrm>
          <a:prstGeom prst="rect">
            <a:avLst/>
          </a:prstGeom>
        </p:spPr>
        <p:txBody>
          <a:bodyPr vert="horz"/>
          <a:lstStyle>
            <a:lvl1pPr algn="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2851856" y="5959477"/>
            <a:ext cx="0" cy="492125"/>
          </a:xfrm>
          <a:prstGeom prst="line">
            <a:avLst/>
          </a:prstGeom>
          <a:ln w="9525" cmpd="sng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88455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14568" y="357810"/>
            <a:ext cx="10507948" cy="498610"/>
          </a:xfrm>
        </p:spPr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714568" y="1005840"/>
            <a:ext cx="10507947" cy="5308600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3"/>
              </a:buClr>
              <a:defRPr/>
            </a:lvl2pPr>
            <a:lvl3pPr>
              <a:buClr>
                <a:schemeClr val="accent3"/>
              </a:buClr>
              <a:defRPr/>
            </a:lvl3pPr>
            <a:lvl4pPr marL="1600200" indent="-228600">
              <a:buClr>
                <a:schemeClr val="accent3"/>
              </a:buClr>
              <a:buFont typeface="Arial" panose="020B0604020202020204" pitchFamily="34" charset="0"/>
              <a:buChar char="-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accent3"/>
              </a:buCl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5C380C9-3062-4F1D-A521-BEC000498A5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300105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pen Layout W/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214314" y="6364288"/>
            <a:ext cx="11977687" cy="493712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063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799">
              <a:solidFill>
                <a:srgbClr val="FFFFFF"/>
              </a:solidFill>
            </a:endParaRPr>
          </a:p>
        </p:txBody>
      </p:sp>
      <p:sp>
        <p:nvSpPr>
          <p:cNvPr id="5" name="Round Single Corner Rectangle 4"/>
          <p:cNvSpPr/>
          <p:nvPr userDrawn="1"/>
        </p:nvSpPr>
        <p:spPr>
          <a:xfrm>
            <a:off x="0" y="6364290"/>
            <a:ext cx="115839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063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799">
              <a:solidFill>
                <a:srgbClr val="FFFFFF"/>
              </a:solidFill>
            </a:endParaRP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15385" y="6384610"/>
            <a:ext cx="11063816" cy="457200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2399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 sz="1100"/>
            </a:lvl1pPr>
          </a:lstStyle>
          <a:p>
            <a:pPr>
              <a:defRPr/>
            </a:pPr>
            <a:fld id="{8D2950EC-7164-4963-973B-94C55E6F294C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165374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4240" y="357189"/>
            <a:ext cx="10523336" cy="4984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FCBBC14-82E5-48B4-B893-A4855DF86426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4" name="Picture 3" descr="Agendabild Ecke unten links"/>
          <p:cNvPicPr>
            <a:picLocks noChangeArrowheads="1"/>
          </p:cNvPicPr>
          <p:nvPr userDrawn="1">
            <p:custDataLst>
              <p:tags r:id="rId1"/>
            </p:custDataLst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0" y="1374279"/>
            <a:ext cx="3657600" cy="5483722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Rectangle 23"/>
          <p:cNvSpPr>
            <a:spLocks noChangeArrowheads="1"/>
          </p:cNvSpPr>
          <p:nvPr userDrawn="1"/>
        </p:nvSpPr>
        <p:spPr bwMode="auto">
          <a:xfrm>
            <a:off x="730250" y="6586538"/>
            <a:ext cx="2517775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altLang="en-US" sz="700" dirty="0" smtClean="0">
                <a:solidFill>
                  <a:srgbClr val="000000"/>
                </a:solidFill>
              </a:rPr>
              <a:t>© 2016 by Honeywell International Inc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220185275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asic Content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213784" y="6364288"/>
            <a:ext cx="11978216" cy="493712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Round Single Corner Rectangle 5"/>
          <p:cNvSpPr/>
          <p:nvPr userDrawn="1"/>
        </p:nvSpPr>
        <p:spPr>
          <a:xfrm>
            <a:off x="0" y="6364289"/>
            <a:ext cx="11584517" cy="504825"/>
          </a:xfrm>
          <a:prstGeom prst="round1Rect">
            <a:avLst>
              <a:gd name="adj" fmla="val 50000"/>
            </a:avLst>
          </a:prstGeom>
          <a:solidFill>
            <a:srgbClr val="E71D1D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Rectangle 12"/>
          <p:cNvSpPr>
            <a:spLocks noChangeArrowheads="1"/>
          </p:cNvSpPr>
          <p:nvPr userDrawn="1"/>
        </p:nvSpPr>
        <p:spPr bwMode="auto">
          <a:xfrm>
            <a:off x="4233" y="6192839"/>
            <a:ext cx="2568332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en-US" sz="700" dirty="0" smtClean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15 by Honeywell International Inc. All rights reserved  . 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15384" y="6416694"/>
            <a:ext cx="11063816" cy="457200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686104" y="482889"/>
            <a:ext cx="10830680" cy="373531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Slide Number Placeholder 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A4F2DEF-CF02-4D4A-9D93-A93939DED191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90281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14568" y="357810"/>
            <a:ext cx="10507948" cy="498610"/>
          </a:xfrm>
        </p:spPr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714568" y="1005840"/>
            <a:ext cx="10507947" cy="5308600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3"/>
              </a:buClr>
              <a:defRPr/>
            </a:lvl2pPr>
            <a:lvl3pPr>
              <a:buClr>
                <a:schemeClr val="accent3"/>
              </a:buClr>
              <a:defRPr/>
            </a:lvl3pPr>
            <a:lvl4pPr marL="1600200" indent="-228600">
              <a:buClr>
                <a:schemeClr val="accent3"/>
              </a:buClr>
              <a:buFont typeface="Arial" panose="020B0604020202020204" pitchFamily="34" charset="0"/>
              <a:buChar char="-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accent3"/>
              </a:buCl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8A27995-BCF8-4F49-84CB-AAB5B160EAB6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980482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 userDrawn="1"/>
        </p:nvCxnSpPr>
        <p:spPr bwMode="auto">
          <a:xfrm>
            <a:off x="6008688" y="996950"/>
            <a:ext cx="0" cy="5334000"/>
          </a:xfrm>
          <a:prstGeom prst="line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/>
            <a:ext uri="{AF507438-7753-43e0-B8FC-AC1667EBCBE1}"/>
          </a:extLst>
        </p:spPr>
      </p:cxn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714567" y="357810"/>
            <a:ext cx="10499918" cy="49861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Content Placeholder 4"/>
          <p:cNvSpPr>
            <a:spLocks noGrp="1"/>
          </p:cNvSpPr>
          <p:nvPr>
            <p:ph sz="quarter" idx="12"/>
          </p:nvPr>
        </p:nvSpPr>
        <p:spPr>
          <a:xfrm>
            <a:off x="714793" y="1005840"/>
            <a:ext cx="5160304" cy="5308600"/>
          </a:xfrm>
          <a:prstGeom prst="rect">
            <a:avLst/>
          </a:prstGeom>
        </p:spPr>
        <p:txBody>
          <a:bodyPr/>
          <a:lstStyle>
            <a:lvl1pPr>
              <a:buClr>
                <a:schemeClr val="tx2"/>
              </a:buClr>
              <a:defRPr>
                <a:latin typeface="+mn-lt"/>
              </a:defRPr>
            </a:lvl1pPr>
            <a:lvl2pPr>
              <a:buClr>
                <a:schemeClr val="accent3"/>
              </a:buClr>
              <a:defRPr>
                <a:latin typeface="+mn-lt"/>
              </a:defRPr>
            </a:lvl2pPr>
            <a:lvl3pPr>
              <a:buClr>
                <a:schemeClr val="accent3"/>
              </a:buClr>
              <a:defRPr>
                <a:latin typeface="+mn-lt"/>
              </a:defRPr>
            </a:lvl3pPr>
            <a:lvl4pPr marL="1600200" indent="-228600">
              <a:buClr>
                <a:schemeClr val="accent3"/>
              </a:buClr>
              <a:buFont typeface="Arial" panose="020B0604020202020204" pitchFamily="34" charset="0"/>
              <a:buChar char="-"/>
              <a:defRPr sz="1400">
                <a:latin typeface="+mn-lt"/>
                <a:cs typeface="Arial" panose="020B0604020202020204" pitchFamily="34" charset="0"/>
              </a:defRPr>
            </a:lvl4pPr>
            <a:lvl5pPr>
              <a:buClr>
                <a:schemeClr val="accent3"/>
              </a:buClr>
              <a:defRPr sz="1400"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Content Placeholder 4"/>
          <p:cNvSpPr>
            <a:spLocks noGrp="1"/>
          </p:cNvSpPr>
          <p:nvPr>
            <p:ph sz="quarter" idx="15"/>
          </p:nvPr>
        </p:nvSpPr>
        <p:spPr>
          <a:xfrm>
            <a:off x="6150445" y="1005840"/>
            <a:ext cx="5064040" cy="53086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 marL="1600200" indent="-228600">
              <a:buClr>
                <a:schemeClr val="accent3"/>
              </a:buClr>
              <a:buFont typeface="Arial" panose="020B0604020202020204" pitchFamily="34" charset="0"/>
              <a:buChar char="-"/>
              <a:defRPr sz="1400">
                <a:latin typeface="+mn-lt"/>
                <a:cs typeface="Arial" panose="020B0604020202020204" pitchFamily="34" charset="0"/>
              </a:defRPr>
            </a:lvl4pPr>
            <a:lvl5pPr>
              <a:buClr>
                <a:schemeClr val="accent3"/>
              </a:buClr>
              <a:defRPr sz="1400"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7673ED1-BD02-464A-9378-4758C8B8813E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045932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Up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 bwMode="auto">
          <a:xfrm flipH="1">
            <a:off x="714375" y="3709988"/>
            <a:ext cx="10531475" cy="0"/>
          </a:xfrm>
          <a:prstGeom prst="line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/>
            <a:ext uri="{AF507438-7753-43e0-B8FC-AC1667EBCBE1}"/>
          </a:extLst>
        </p:spPr>
      </p:cxnSp>
      <p:cxnSp>
        <p:nvCxnSpPr>
          <p:cNvPr id="8" name="Straight Connector 7"/>
          <p:cNvCxnSpPr/>
          <p:nvPr userDrawn="1"/>
        </p:nvCxnSpPr>
        <p:spPr bwMode="auto">
          <a:xfrm>
            <a:off x="6008688" y="996950"/>
            <a:ext cx="0" cy="5334000"/>
          </a:xfrm>
          <a:prstGeom prst="line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/>
            <a:ext uri="{AF507438-7753-43e0-B8FC-AC1667EBCBE1}"/>
          </a:extLst>
        </p:spPr>
      </p:cxnSp>
      <p:sp>
        <p:nvSpPr>
          <p:cNvPr id="9" name="TextBox 11"/>
          <p:cNvSpPr txBox="1">
            <a:spLocks noChangeArrowheads="1"/>
          </p:cNvSpPr>
          <p:nvPr userDrawn="1"/>
        </p:nvSpPr>
        <p:spPr bwMode="auto">
          <a:xfrm>
            <a:off x="1666875" y="6804025"/>
            <a:ext cx="185738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714240" y="364798"/>
            <a:ext cx="10531033" cy="51206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Content Placeholder 4"/>
          <p:cNvSpPr>
            <a:spLocks noGrp="1"/>
          </p:cNvSpPr>
          <p:nvPr>
            <p:ph sz="quarter" idx="12"/>
          </p:nvPr>
        </p:nvSpPr>
        <p:spPr>
          <a:xfrm>
            <a:off x="714240" y="1005841"/>
            <a:ext cx="5172338" cy="2624429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buClr>
                <a:schemeClr val="accent3"/>
              </a:buClr>
              <a:defRPr>
                <a:latin typeface="+mn-lt"/>
              </a:defRPr>
            </a:lvl2pPr>
            <a:lvl3pPr>
              <a:buClr>
                <a:schemeClr val="accent3"/>
              </a:buClr>
              <a:defRPr>
                <a:latin typeface="+mn-lt"/>
              </a:defRPr>
            </a:lvl3pPr>
            <a:lvl4pPr marL="1600200" indent="-228600">
              <a:buClr>
                <a:schemeClr val="accent3"/>
              </a:buClr>
              <a:buFont typeface="Arial" panose="020B0604020202020204" pitchFamily="34" charset="0"/>
              <a:buChar char="-"/>
              <a:defRPr sz="1400">
                <a:latin typeface="+mn-lt"/>
                <a:cs typeface="Arial" panose="020B0604020202020204" pitchFamily="34" charset="0"/>
              </a:defRPr>
            </a:lvl4pPr>
            <a:lvl5pPr>
              <a:buClr>
                <a:schemeClr val="accent3"/>
              </a:buClr>
              <a:defRPr sz="1400"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1" name="Content Placeholder 4"/>
          <p:cNvSpPr>
            <a:spLocks noGrp="1"/>
          </p:cNvSpPr>
          <p:nvPr>
            <p:ph sz="quarter" idx="15"/>
          </p:nvPr>
        </p:nvSpPr>
        <p:spPr>
          <a:xfrm>
            <a:off x="6134782" y="1005841"/>
            <a:ext cx="5110491" cy="2624429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buClr>
                <a:schemeClr val="accent3"/>
              </a:buClr>
              <a:defRPr>
                <a:latin typeface="+mn-lt"/>
              </a:defRPr>
            </a:lvl2pPr>
            <a:lvl3pPr>
              <a:buClr>
                <a:schemeClr val="accent3"/>
              </a:buClr>
              <a:defRPr>
                <a:latin typeface="+mn-lt"/>
              </a:defRPr>
            </a:lvl3pPr>
            <a:lvl4pPr marL="1600200" indent="-228600">
              <a:buClr>
                <a:schemeClr val="accent3"/>
              </a:buClr>
              <a:buFont typeface="Arial" panose="020B0604020202020204" pitchFamily="34" charset="0"/>
              <a:buChar char="-"/>
              <a:defRPr sz="1400">
                <a:latin typeface="+mn-lt"/>
                <a:cs typeface="Arial" panose="020B0604020202020204" pitchFamily="34" charset="0"/>
              </a:defRPr>
            </a:lvl4pPr>
            <a:lvl5pPr>
              <a:buClr>
                <a:schemeClr val="accent3"/>
              </a:buClr>
              <a:defRPr sz="1400"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ontent Placeholder 4"/>
          <p:cNvSpPr>
            <a:spLocks noGrp="1"/>
          </p:cNvSpPr>
          <p:nvPr>
            <p:ph sz="quarter" idx="22"/>
          </p:nvPr>
        </p:nvSpPr>
        <p:spPr>
          <a:xfrm>
            <a:off x="714240" y="3796577"/>
            <a:ext cx="5172338" cy="2534249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buClr>
                <a:schemeClr val="accent3"/>
              </a:buClr>
              <a:defRPr>
                <a:latin typeface="+mn-lt"/>
              </a:defRPr>
            </a:lvl2pPr>
            <a:lvl3pPr>
              <a:buClr>
                <a:schemeClr val="accent3"/>
              </a:buClr>
              <a:defRPr>
                <a:latin typeface="+mn-lt"/>
              </a:defRPr>
            </a:lvl3pPr>
            <a:lvl4pPr marL="1600200" indent="-228600">
              <a:buClr>
                <a:schemeClr val="accent3"/>
              </a:buClr>
              <a:buFont typeface="Arial" panose="020B0604020202020204" pitchFamily="34" charset="0"/>
              <a:buChar char="-"/>
              <a:defRPr sz="1400">
                <a:latin typeface="+mn-lt"/>
                <a:cs typeface="Arial" panose="020B0604020202020204" pitchFamily="34" charset="0"/>
              </a:defRPr>
            </a:lvl4pPr>
            <a:lvl5pPr>
              <a:buClr>
                <a:schemeClr val="accent3"/>
              </a:buClr>
              <a:defRPr sz="1400"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3" name="Content Placeholder 4"/>
          <p:cNvSpPr>
            <a:spLocks noGrp="1"/>
          </p:cNvSpPr>
          <p:nvPr>
            <p:ph sz="quarter" idx="23"/>
          </p:nvPr>
        </p:nvSpPr>
        <p:spPr>
          <a:xfrm>
            <a:off x="6134782" y="3796577"/>
            <a:ext cx="5110491" cy="2534249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buClr>
                <a:schemeClr val="accent3"/>
              </a:buClr>
              <a:defRPr>
                <a:latin typeface="+mn-lt"/>
              </a:defRPr>
            </a:lvl2pPr>
            <a:lvl3pPr>
              <a:buClr>
                <a:schemeClr val="accent3"/>
              </a:buClr>
              <a:defRPr>
                <a:latin typeface="+mn-lt"/>
              </a:defRPr>
            </a:lvl3pPr>
            <a:lvl4pPr marL="1600200" indent="-228600">
              <a:buClr>
                <a:schemeClr val="accent3"/>
              </a:buClr>
              <a:buFont typeface="Arial" panose="020B0604020202020204" pitchFamily="34" charset="0"/>
              <a:buChar char="-"/>
              <a:defRPr sz="1400">
                <a:latin typeface="+mn-lt"/>
                <a:cs typeface="Arial" panose="020B0604020202020204" pitchFamily="34" charset="0"/>
              </a:defRPr>
            </a:lvl4pPr>
            <a:lvl5pPr>
              <a:buClr>
                <a:schemeClr val="accent3"/>
              </a:buClr>
              <a:defRPr sz="1400"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 algn="l">
              <a:defRPr sz="1100" b="1" i="0" smtClean="0">
                <a:solidFill>
                  <a:schemeClr val="bg1"/>
                </a:solidFill>
                <a:latin typeface="+mn-lt"/>
                <a:cs typeface="HelveticaNeue MediumCond"/>
              </a:defRPr>
            </a:lvl1pPr>
          </a:lstStyle>
          <a:p>
            <a:pPr>
              <a:defRPr/>
            </a:pPr>
            <a:fld id="{ABD1D956-FE46-4873-AACB-78E028F766CB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757309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4240" y="357189"/>
            <a:ext cx="10523336" cy="4984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sz="1100" smtClean="0"/>
            </a:lvl1pPr>
          </a:lstStyle>
          <a:p>
            <a:pPr>
              <a:defRPr/>
            </a:pPr>
            <a:fld id="{37848E13-0D7E-4986-B1C4-8E745B04B324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741721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2119726"/>
            <a:ext cx="12192000" cy="498475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7864EBF-B63F-4A4C-95AF-C81AB9318834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163888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09787" y="357810"/>
            <a:ext cx="10669812" cy="498610"/>
          </a:xfrm>
        </p:spPr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709787" y="1005840"/>
            <a:ext cx="10669813" cy="5308600"/>
          </a:xfrm>
          <a:prstGeom prst="rect">
            <a:avLst/>
          </a:prstGeom>
        </p:spPr>
        <p:txBody>
          <a:bodyPr/>
          <a:lstStyle>
            <a:lvl4pPr marL="1600200" indent="-228600">
              <a:buClr>
                <a:schemeClr val="accent2"/>
              </a:buClr>
              <a:buFont typeface="Arial" panose="020B0604020202020204" pitchFamily="34" charset="0"/>
              <a:buChar char="-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accent2"/>
              </a:buCl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fld id="{FA3F9965-88A6-4677-949D-A01BE6EF631D}" type="slidenum">
              <a:rPr lang="en-US" altLang="en-US">
                <a:solidFill>
                  <a:srgbClr val="FFFFFF"/>
                </a:solidFill>
              </a:rPr>
              <a:pPr/>
              <a:t>‹#›</a:t>
            </a:fld>
            <a:endParaRPr lang="en-US" alt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395882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5992284" y="1000125"/>
            <a:ext cx="0" cy="5314950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709788" y="357810"/>
            <a:ext cx="10657769" cy="49861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Content Placeholder 4"/>
          <p:cNvSpPr>
            <a:spLocks noGrp="1"/>
          </p:cNvSpPr>
          <p:nvPr>
            <p:ph sz="quarter" idx="12"/>
          </p:nvPr>
        </p:nvSpPr>
        <p:spPr>
          <a:xfrm>
            <a:off x="709788" y="1005840"/>
            <a:ext cx="5136321" cy="5308600"/>
          </a:xfrm>
          <a:prstGeom prst="rect">
            <a:avLst/>
          </a:prstGeom>
        </p:spPr>
        <p:txBody>
          <a:bodyPr/>
          <a:lstStyle>
            <a:lvl4pPr marL="1600200" indent="-228600">
              <a:buClr>
                <a:schemeClr val="accent2"/>
              </a:buClr>
              <a:buFont typeface="Arial" panose="020B0604020202020204" pitchFamily="34" charset="0"/>
              <a:buChar char="-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accent2"/>
              </a:buCl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Content Placeholder 4"/>
          <p:cNvSpPr>
            <a:spLocks noGrp="1"/>
          </p:cNvSpPr>
          <p:nvPr>
            <p:ph sz="quarter" idx="15"/>
          </p:nvPr>
        </p:nvSpPr>
        <p:spPr>
          <a:xfrm>
            <a:off x="6129401" y="1005840"/>
            <a:ext cx="5238156" cy="5308600"/>
          </a:xfrm>
          <a:prstGeom prst="rect">
            <a:avLst/>
          </a:prstGeom>
        </p:spPr>
        <p:txBody>
          <a:bodyPr/>
          <a:lstStyle>
            <a:lvl4pPr marL="1600200" indent="-228600">
              <a:buClr>
                <a:schemeClr val="accent2"/>
              </a:buClr>
              <a:buFont typeface="Arial" panose="020B0604020202020204" pitchFamily="34" charset="0"/>
              <a:buChar char="-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accent2"/>
              </a:buCl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fld id="{5E6B746D-A4A0-4D2E-87DC-FFCA674A0EB7}" type="slidenum">
              <a:rPr lang="en-US" altLang="en-US">
                <a:solidFill>
                  <a:srgbClr val="FFFFFF"/>
                </a:solidFill>
              </a:rPr>
              <a:pPr/>
              <a:t>‹#›</a:t>
            </a:fld>
            <a:endParaRPr lang="en-US" alt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61809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 userDrawn="1"/>
        </p:nvCxnSpPr>
        <p:spPr bwMode="auto">
          <a:xfrm>
            <a:off x="6008688" y="996950"/>
            <a:ext cx="0" cy="5334000"/>
          </a:xfrm>
          <a:prstGeom prst="line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/>
            <a:ext uri="{AF507438-7753-43e0-B8FC-AC1667EBCBE1}"/>
          </a:extLst>
        </p:spPr>
      </p:cxn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714567" y="357810"/>
            <a:ext cx="10499918" cy="49861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Content Placeholder 4"/>
          <p:cNvSpPr>
            <a:spLocks noGrp="1"/>
          </p:cNvSpPr>
          <p:nvPr>
            <p:ph sz="quarter" idx="12"/>
          </p:nvPr>
        </p:nvSpPr>
        <p:spPr>
          <a:xfrm>
            <a:off x="714793" y="1005840"/>
            <a:ext cx="5160304" cy="5308600"/>
          </a:xfrm>
          <a:prstGeom prst="rect">
            <a:avLst/>
          </a:prstGeom>
        </p:spPr>
        <p:txBody>
          <a:bodyPr/>
          <a:lstStyle>
            <a:lvl1pPr>
              <a:buClr>
                <a:schemeClr val="tx2"/>
              </a:buClr>
              <a:defRPr>
                <a:latin typeface="+mn-lt"/>
              </a:defRPr>
            </a:lvl1pPr>
            <a:lvl2pPr>
              <a:buClr>
                <a:schemeClr val="accent3"/>
              </a:buClr>
              <a:defRPr>
                <a:latin typeface="+mn-lt"/>
              </a:defRPr>
            </a:lvl2pPr>
            <a:lvl3pPr>
              <a:buClr>
                <a:schemeClr val="accent3"/>
              </a:buClr>
              <a:defRPr>
                <a:latin typeface="+mn-lt"/>
              </a:defRPr>
            </a:lvl3pPr>
            <a:lvl4pPr marL="1600200" indent="-228600">
              <a:buClr>
                <a:schemeClr val="accent3"/>
              </a:buClr>
              <a:buFont typeface="Arial" panose="020B0604020202020204" pitchFamily="34" charset="0"/>
              <a:buChar char="-"/>
              <a:defRPr sz="1400">
                <a:latin typeface="+mn-lt"/>
                <a:cs typeface="Arial" panose="020B0604020202020204" pitchFamily="34" charset="0"/>
              </a:defRPr>
            </a:lvl4pPr>
            <a:lvl5pPr>
              <a:buClr>
                <a:schemeClr val="accent3"/>
              </a:buClr>
              <a:defRPr sz="1400"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Content Placeholder 4"/>
          <p:cNvSpPr>
            <a:spLocks noGrp="1"/>
          </p:cNvSpPr>
          <p:nvPr>
            <p:ph sz="quarter" idx="15"/>
          </p:nvPr>
        </p:nvSpPr>
        <p:spPr>
          <a:xfrm>
            <a:off x="6150445" y="1005840"/>
            <a:ext cx="5064040" cy="53086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 marL="1600200" indent="-228600">
              <a:buClr>
                <a:schemeClr val="accent3"/>
              </a:buClr>
              <a:buFont typeface="Arial" panose="020B0604020202020204" pitchFamily="34" charset="0"/>
              <a:buChar char="-"/>
              <a:defRPr sz="1400">
                <a:latin typeface="+mn-lt"/>
                <a:cs typeface="Arial" panose="020B0604020202020204" pitchFamily="34" charset="0"/>
              </a:defRPr>
            </a:lvl4pPr>
            <a:lvl5pPr>
              <a:buClr>
                <a:schemeClr val="accent3"/>
              </a:buClr>
              <a:defRPr sz="1400"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0121559-6FAE-4C9F-95D5-751370D9C50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129574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-Up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/>
        </p:nvCxnSpPr>
        <p:spPr bwMode="auto">
          <a:xfrm flipH="1">
            <a:off x="706967" y="3698875"/>
            <a:ext cx="10636251" cy="0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/>
            <a:ext uri="{AF507438-7753-43e0-B8FC-AC1667EBCBE1}"/>
          </a:extLst>
        </p:spPr>
      </p:cxnSp>
      <p:cxnSp>
        <p:nvCxnSpPr>
          <p:cNvPr id="8" name="Straight Connector 7"/>
          <p:cNvCxnSpPr/>
          <p:nvPr/>
        </p:nvCxnSpPr>
        <p:spPr bwMode="auto">
          <a:xfrm>
            <a:off x="5990167" y="996950"/>
            <a:ext cx="0" cy="5445125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/>
            <a:ext uri="{AF507438-7753-43e0-B8FC-AC1667EBCBE1}"/>
          </a:extLst>
        </p:spPr>
      </p:cxnSp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706435" y="357947"/>
            <a:ext cx="10637439" cy="51206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Content Placeholder 4"/>
          <p:cNvSpPr>
            <a:spLocks noGrp="1"/>
          </p:cNvSpPr>
          <p:nvPr>
            <p:ph sz="quarter" idx="12"/>
          </p:nvPr>
        </p:nvSpPr>
        <p:spPr>
          <a:xfrm>
            <a:off x="706435" y="1005841"/>
            <a:ext cx="5165427" cy="2624429"/>
          </a:xfrm>
          <a:prstGeom prst="rect">
            <a:avLst/>
          </a:prstGeom>
        </p:spPr>
        <p:txBody>
          <a:bodyPr/>
          <a:lstStyle>
            <a:lvl4pPr marL="1600200" indent="-228600">
              <a:buClr>
                <a:schemeClr val="accent2"/>
              </a:buClr>
              <a:buFont typeface="Arial" panose="020B0604020202020204" pitchFamily="34" charset="0"/>
              <a:buChar char="-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accent2"/>
              </a:buCl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Content Placeholder 4"/>
          <p:cNvSpPr>
            <a:spLocks noGrp="1"/>
          </p:cNvSpPr>
          <p:nvPr>
            <p:ph sz="quarter" idx="15"/>
          </p:nvPr>
        </p:nvSpPr>
        <p:spPr>
          <a:xfrm>
            <a:off x="6135838" y="1005841"/>
            <a:ext cx="5208036" cy="2624429"/>
          </a:xfrm>
          <a:prstGeom prst="rect">
            <a:avLst/>
          </a:prstGeom>
        </p:spPr>
        <p:txBody>
          <a:bodyPr/>
          <a:lstStyle>
            <a:lvl4pPr marL="1600200" indent="-228600">
              <a:buClr>
                <a:schemeClr val="accent2"/>
              </a:buClr>
              <a:buFont typeface="Arial" panose="020B0604020202020204" pitchFamily="34" charset="0"/>
              <a:buChar char="-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accent2"/>
              </a:buCl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Content Placeholder 4"/>
          <p:cNvSpPr>
            <a:spLocks noGrp="1"/>
          </p:cNvSpPr>
          <p:nvPr>
            <p:ph sz="quarter" idx="22"/>
          </p:nvPr>
        </p:nvSpPr>
        <p:spPr>
          <a:xfrm>
            <a:off x="706435" y="3796577"/>
            <a:ext cx="5165427" cy="2624429"/>
          </a:xfrm>
          <a:prstGeom prst="rect">
            <a:avLst/>
          </a:prstGeom>
        </p:spPr>
        <p:txBody>
          <a:bodyPr/>
          <a:lstStyle>
            <a:lvl4pPr marL="1600200" indent="-228600">
              <a:buClr>
                <a:schemeClr val="accent2"/>
              </a:buClr>
              <a:buFont typeface="Arial" panose="020B0604020202020204" pitchFamily="34" charset="0"/>
              <a:buChar char="-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accent2"/>
              </a:buCl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Content Placeholder 4"/>
          <p:cNvSpPr>
            <a:spLocks noGrp="1"/>
          </p:cNvSpPr>
          <p:nvPr>
            <p:ph sz="quarter" idx="23"/>
          </p:nvPr>
        </p:nvSpPr>
        <p:spPr>
          <a:xfrm>
            <a:off x="6135838" y="3796577"/>
            <a:ext cx="5208036" cy="2624429"/>
          </a:xfrm>
          <a:prstGeom prst="rect">
            <a:avLst/>
          </a:prstGeom>
        </p:spPr>
        <p:txBody>
          <a:bodyPr/>
          <a:lstStyle>
            <a:lvl4pPr marL="1600200" indent="-228600">
              <a:buClr>
                <a:schemeClr val="accent2"/>
              </a:buClr>
              <a:buFont typeface="Arial" panose="020B0604020202020204" pitchFamily="34" charset="0"/>
              <a:buChar char="-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accent2"/>
              </a:buCl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/>
            </a:lvl1pPr>
          </a:lstStyle>
          <a:p>
            <a:fld id="{5B6BFA9F-FDCE-4D97-B70A-61660AE14549}" type="slidenum">
              <a:rPr lang="en-US" altLang="en-US">
                <a:solidFill>
                  <a:srgbClr val="FFFFFF"/>
                </a:solidFill>
              </a:rPr>
              <a:pPr/>
              <a:t>‹#›</a:t>
            </a:fld>
            <a:endParaRPr lang="en-US" alt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295676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6435" y="357189"/>
            <a:ext cx="10803467" cy="4984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E54C66C-89B0-4083-B354-C2FB9C83B87C}" type="slidenum">
              <a:rPr lang="en-US" altLang="en-US">
                <a:solidFill>
                  <a:srgbClr val="FFFFFF"/>
                </a:solidFill>
              </a:rPr>
              <a:pPr/>
              <a:t>‹#›</a:t>
            </a:fld>
            <a:endParaRPr lang="en-US" alt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083746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ulti-Imag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9"/>
          <p:cNvSpPr>
            <a:spLocks noGrp="1"/>
          </p:cNvSpPr>
          <p:nvPr>
            <p:ph type="body" sz="quarter" idx="13"/>
          </p:nvPr>
        </p:nvSpPr>
        <p:spPr>
          <a:xfrm>
            <a:off x="2864782" y="6222292"/>
            <a:ext cx="6617885" cy="254118"/>
          </a:xfrm>
          <a:prstGeom prst="rect">
            <a:avLst/>
          </a:prstGeom>
        </p:spPr>
        <p:txBody>
          <a:bodyPr vert="horz" anchor="ctr"/>
          <a:lstStyle>
            <a:lvl1pPr>
              <a:defRPr sz="16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Text Placeholder 17"/>
          <p:cNvSpPr>
            <a:spLocks noGrp="1"/>
          </p:cNvSpPr>
          <p:nvPr>
            <p:ph type="body" sz="quarter" idx="12"/>
          </p:nvPr>
        </p:nvSpPr>
        <p:spPr>
          <a:xfrm>
            <a:off x="2864781" y="5960247"/>
            <a:ext cx="6617887" cy="249655"/>
          </a:xfrm>
          <a:prstGeom prst="rect">
            <a:avLst/>
          </a:prstGeom>
        </p:spPr>
        <p:txBody>
          <a:bodyPr vert="horz" anchor="ctr"/>
          <a:lstStyle>
            <a:lvl1pPr>
              <a:defRPr sz="2400" b="1" i="0" cap="all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Content Placeholder 6"/>
          <p:cNvSpPr>
            <a:spLocks noGrp="1"/>
          </p:cNvSpPr>
          <p:nvPr>
            <p:ph sz="quarter" idx="10"/>
          </p:nvPr>
        </p:nvSpPr>
        <p:spPr>
          <a:xfrm>
            <a:off x="266700" y="5949950"/>
            <a:ext cx="2483273" cy="236792"/>
          </a:xfrm>
          <a:prstGeom prst="rect">
            <a:avLst/>
          </a:prstGeom>
        </p:spPr>
        <p:txBody>
          <a:bodyPr vert="horz" anchor="t"/>
          <a:lstStyle>
            <a:lvl1pPr algn="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66699" y="6199311"/>
            <a:ext cx="2483275" cy="248524"/>
          </a:xfrm>
          <a:prstGeom prst="rect">
            <a:avLst/>
          </a:prstGeom>
        </p:spPr>
        <p:txBody>
          <a:bodyPr vert="horz"/>
          <a:lstStyle>
            <a:lvl1pPr algn="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2851856" y="5959477"/>
            <a:ext cx="0" cy="492125"/>
          </a:xfrm>
          <a:prstGeom prst="line">
            <a:avLst/>
          </a:prstGeom>
          <a:ln w="9525" cmpd="sng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390671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pen Layout W/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214314" y="6364288"/>
            <a:ext cx="11977687" cy="493712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063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799">
              <a:solidFill>
                <a:srgbClr val="FFFFFF"/>
              </a:solidFill>
            </a:endParaRPr>
          </a:p>
        </p:txBody>
      </p:sp>
      <p:sp>
        <p:nvSpPr>
          <p:cNvPr id="5" name="Round Single Corner Rectangle 4"/>
          <p:cNvSpPr/>
          <p:nvPr userDrawn="1"/>
        </p:nvSpPr>
        <p:spPr>
          <a:xfrm>
            <a:off x="0" y="6364290"/>
            <a:ext cx="115839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063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799">
              <a:solidFill>
                <a:srgbClr val="FFFFFF"/>
              </a:solidFill>
            </a:endParaRP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15385" y="6384610"/>
            <a:ext cx="11063816" cy="457200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2399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 sz="1100"/>
            </a:lvl1pPr>
          </a:lstStyle>
          <a:p>
            <a:pPr>
              <a:defRPr/>
            </a:pPr>
            <a:fld id="{8D2950EC-7164-4963-973B-94C55E6F294C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226444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4240" y="357189"/>
            <a:ext cx="10523336" cy="4984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FCBBC14-82E5-48B4-B893-A4855DF86426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4" name="Picture 3" descr="Agendabild Ecke unten links"/>
          <p:cNvPicPr>
            <a:picLocks noChangeArrowheads="1"/>
          </p:cNvPicPr>
          <p:nvPr userDrawn="1">
            <p:custDataLst>
              <p:tags r:id="rId1"/>
            </p:custDataLst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0" y="1374279"/>
            <a:ext cx="3657600" cy="5483722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Rectangle 23"/>
          <p:cNvSpPr>
            <a:spLocks noChangeArrowheads="1"/>
          </p:cNvSpPr>
          <p:nvPr userDrawn="1"/>
        </p:nvSpPr>
        <p:spPr bwMode="auto">
          <a:xfrm>
            <a:off x="730250" y="6586538"/>
            <a:ext cx="2517775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altLang="en-US" sz="700" dirty="0" smtClean="0">
                <a:solidFill>
                  <a:srgbClr val="000000"/>
                </a:solidFill>
              </a:rPr>
              <a:t>© 2016 by Honeywell International Inc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200588705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714568" y="357810"/>
            <a:ext cx="10507948" cy="498610"/>
          </a:xfrm>
        </p:spPr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11645901" y="-143"/>
            <a:ext cx="675217" cy="5048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9814D0C-58DA-754D-96DF-668AE432F1BF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714568" y="1005840"/>
            <a:ext cx="10507947" cy="5308600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3"/>
              </a:buClr>
              <a:defRPr/>
            </a:lvl2pPr>
            <a:lvl3pPr>
              <a:buClr>
                <a:schemeClr val="accent3"/>
              </a:buClr>
              <a:defRPr/>
            </a:lvl3pPr>
            <a:lvl4pPr marL="1600200" indent="-228600">
              <a:buClr>
                <a:schemeClr val="accent3"/>
              </a:buClr>
              <a:buFont typeface="Arial" panose="020B0604020202020204" pitchFamily="34" charset="0"/>
              <a:buChar char="-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accent3"/>
              </a:buCl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022862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714567" y="357810"/>
            <a:ext cx="10499918" cy="49861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11645901" y="-143"/>
            <a:ext cx="675217" cy="5048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570C130-3947-5746-9F16-5E7E49C44C45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Content Placeholder 4"/>
          <p:cNvSpPr>
            <a:spLocks noGrp="1"/>
          </p:cNvSpPr>
          <p:nvPr>
            <p:ph sz="quarter" idx="12"/>
          </p:nvPr>
        </p:nvSpPr>
        <p:spPr>
          <a:xfrm>
            <a:off x="714793" y="1005840"/>
            <a:ext cx="5160304" cy="5308600"/>
          </a:xfrm>
          <a:prstGeom prst="rect">
            <a:avLst/>
          </a:prstGeom>
        </p:spPr>
        <p:txBody>
          <a:bodyPr/>
          <a:lstStyle>
            <a:lvl1pPr>
              <a:buClr>
                <a:schemeClr val="tx2"/>
              </a:buClr>
              <a:defRPr>
                <a:latin typeface="+mn-lt"/>
              </a:defRPr>
            </a:lvl1pPr>
            <a:lvl2pPr>
              <a:buClr>
                <a:schemeClr val="accent3"/>
              </a:buClr>
              <a:defRPr>
                <a:latin typeface="+mn-lt"/>
              </a:defRPr>
            </a:lvl2pPr>
            <a:lvl3pPr>
              <a:buClr>
                <a:schemeClr val="accent3"/>
              </a:buClr>
              <a:defRPr>
                <a:latin typeface="+mn-lt"/>
              </a:defRPr>
            </a:lvl3pPr>
            <a:lvl4pPr marL="1600200" indent="-228600">
              <a:buClr>
                <a:schemeClr val="accent3"/>
              </a:buClr>
              <a:buFont typeface="Arial" panose="020B0604020202020204" pitchFamily="34" charset="0"/>
              <a:buChar char="-"/>
              <a:defRPr sz="1400">
                <a:latin typeface="+mn-lt"/>
                <a:cs typeface="Arial" panose="020B0604020202020204" pitchFamily="34" charset="0"/>
              </a:defRPr>
            </a:lvl4pPr>
            <a:lvl5pPr>
              <a:buClr>
                <a:schemeClr val="accent3"/>
              </a:buClr>
              <a:defRPr sz="1400"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Content Placeholder 4"/>
          <p:cNvSpPr>
            <a:spLocks noGrp="1"/>
          </p:cNvSpPr>
          <p:nvPr>
            <p:ph sz="quarter" idx="15"/>
          </p:nvPr>
        </p:nvSpPr>
        <p:spPr>
          <a:xfrm>
            <a:off x="6150445" y="1005840"/>
            <a:ext cx="5064040" cy="53086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 marL="1600200" indent="-228600">
              <a:buClr>
                <a:schemeClr val="accent3"/>
              </a:buClr>
              <a:buFont typeface="Arial" panose="020B0604020202020204" pitchFamily="34" charset="0"/>
              <a:buChar char="-"/>
              <a:defRPr sz="1400">
                <a:latin typeface="+mn-lt"/>
                <a:cs typeface="Arial" panose="020B0604020202020204" pitchFamily="34" charset="0"/>
              </a:defRPr>
            </a:lvl4pPr>
            <a:lvl5pPr>
              <a:buClr>
                <a:schemeClr val="accent3"/>
              </a:buClr>
              <a:defRPr sz="1400"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 bwMode="auto">
          <a:xfrm>
            <a:off x="6008640" y="996697"/>
            <a:ext cx="0" cy="5334129"/>
          </a:xfrm>
          <a:prstGeom prst="line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35615511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Up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 bwMode="auto">
          <a:xfrm flipH="1">
            <a:off x="714240" y="3710164"/>
            <a:ext cx="10531033" cy="0"/>
          </a:xfrm>
          <a:prstGeom prst="line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" name="Straight Connector 7"/>
          <p:cNvCxnSpPr/>
          <p:nvPr userDrawn="1"/>
        </p:nvCxnSpPr>
        <p:spPr bwMode="auto">
          <a:xfrm>
            <a:off x="6008640" y="996697"/>
            <a:ext cx="0" cy="5334129"/>
          </a:xfrm>
          <a:prstGeom prst="line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0005FF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714240" y="364798"/>
            <a:ext cx="10531033" cy="51206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21"/>
          </p:nvPr>
        </p:nvSpPr>
        <p:spPr>
          <a:xfrm>
            <a:off x="11645901" y="-143"/>
            <a:ext cx="675217" cy="504825"/>
          </a:xfrm>
          <a:prstGeom prst="rect">
            <a:avLst/>
          </a:prstGeom>
        </p:spPr>
        <p:txBody>
          <a:bodyPr/>
          <a:lstStyle>
            <a:lvl1pPr algn="l">
              <a:defRPr sz="1100" b="1" i="0">
                <a:solidFill>
                  <a:schemeClr val="bg1"/>
                </a:solidFill>
                <a:latin typeface="+mn-lt"/>
                <a:cs typeface="HelveticaNeue MediumCond"/>
              </a:defRPr>
            </a:lvl1pPr>
          </a:lstStyle>
          <a:p>
            <a:pPr>
              <a:defRPr/>
            </a:pPr>
            <a:fld id="{E075DB8A-71E0-F944-83F6-A83A2D996DB4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Content Placeholder 4"/>
          <p:cNvSpPr>
            <a:spLocks noGrp="1"/>
          </p:cNvSpPr>
          <p:nvPr>
            <p:ph sz="quarter" idx="12"/>
          </p:nvPr>
        </p:nvSpPr>
        <p:spPr>
          <a:xfrm>
            <a:off x="714240" y="1005841"/>
            <a:ext cx="5172338" cy="2624429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buClr>
                <a:schemeClr val="accent3"/>
              </a:buClr>
              <a:defRPr>
                <a:latin typeface="+mn-lt"/>
              </a:defRPr>
            </a:lvl2pPr>
            <a:lvl3pPr>
              <a:buClr>
                <a:schemeClr val="accent3"/>
              </a:buClr>
              <a:defRPr>
                <a:latin typeface="+mn-lt"/>
              </a:defRPr>
            </a:lvl3pPr>
            <a:lvl4pPr marL="1600200" indent="-228600">
              <a:buClr>
                <a:schemeClr val="accent3"/>
              </a:buClr>
              <a:buFont typeface="Arial" panose="020B0604020202020204" pitchFamily="34" charset="0"/>
              <a:buChar char="-"/>
              <a:defRPr sz="1400">
                <a:latin typeface="+mn-lt"/>
                <a:cs typeface="Arial" panose="020B0604020202020204" pitchFamily="34" charset="0"/>
              </a:defRPr>
            </a:lvl4pPr>
            <a:lvl5pPr>
              <a:buClr>
                <a:schemeClr val="accent3"/>
              </a:buClr>
              <a:defRPr sz="1400"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1" name="Content Placeholder 4"/>
          <p:cNvSpPr>
            <a:spLocks noGrp="1"/>
          </p:cNvSpPr>
          <p:nvPr>
            <p:ph sz="quarter" idx="15"/>
          </p:nvPr>
        </p:nvSpPr>
        <p:spPr>
          <a:xfrm>
            <a:off x="6134782" y="1005841"/>
            <a:ext cx="5110491" cy="2624429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buClr>
                <a:schemeClr val="accent3"/>
              </a:buClr>
              <a:defRPr>
                <a:latin typeface="+mn-lt"/>
              </a:defRPr>
            </a:lvl2pPr>
            <a:lvl3pPr>
              <a:buClr>
                <a:schemeClr val="accent3"/>
              </a:buClr>
              <a:defRPr>
                <a:latin typeface="+mn-lt"/>
              </a:defRPr>
            </a:lvl3pPr>
            <a:lvl4pPr marL="1600200" indent="-228600">
              <a:buClr>
                <a:schemeClr val="accent3"/>
              </a:buClr>
              <a:buFont typeface="Arial" panose="020B0604020202020204" pitchFamily="34" charset="0"/>
              <a:buChar char="-"/>
              <a:defRPr sz="1400">
                <a:latin typeface="+mn-lt"/>
                <a:cs typeface="Arial" panose="020B0604020202020204" pitchFamily="34" charset="0"/>
              </a:defRPr>
            </a:lvl4pPr>
            <a:lvl5pPr>
              <a:buClr>
                <a:schemeClr val="accent3"/>
              </a:buClr>
              <a:defRPr sz="1400"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ontent Placeholder 4"/>
          <p:cNvSpPr>
            <a:spLocks noGrp="1"/>
          </p:cNvSpPr>
          <p:nvPr>
            <p:ph sz="quarter" idx="22"/>
          </p:nvPr>
        </p:nvSpPr>
        <p:spPr>
          <a:xfrm>
            <a:off x="714240" y="3796577"/>
            <a:ext cx="5172338" cy="2534249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buClr>
                <a:schemeClr val="accent3"/>
              </a:buClr>
              <a:defRPr>
                <a:latin typeface="+mn-lt"/>
              </a:defRPr>
            </a:lvl2pPr>
            <a:lvl3pPr>
              <a:buClr>
                <a:schemeClr val="accent3"/>
              </a:buClr>
              <a:defRPr>
                <a:latin typeface="+mn-lt"/>
              </a:defRPr>
            </a:lvl3pPr>
            <a:lvl4pPr marL="1600200" indent="-228600">
              <a:buClr>
                <a:schemeClr val="accent3"/>
              </a:buClr>
              <a:buFont typeface="Arial" panose="020B0604020202020204" pitchFamily="34" charset="0"/>
              <a:buChar char="-"/>
              <a:defRPr sz="1400">
                <a:latin typeface="+mn-lt"/>
                <a:cs typeface="Arial" panose="020B0604020202020204" pitchFamily="34" charset="0"/>
              </a:defRPr>
            </a:lvl4pPr>
            <a:lvl5pPr>
              <a:buClr>
                <a:schemeClr val="accent3"/>
              </a:buClr>
              <a:defRPr sz="1400"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3" name="Content Placeholder 4"/>
          <p:cNvSpPr>
            <a:spLocks noGrp="1"/>
          </p:cNvSpPr>
          <p:nvPr>
            <p:ph sz="quarter" idx="23"/>
          </p:nvPr>
        </p:nvSpPr>
        <p:spPr>
          <a:xfrm>
            <a:off x="6134782" y="3796577"/>
            <a:ext cx="5110491" cy="2534249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buClr>
                <a:schemeClr val="accent3"/>
              </a:buClr>
              <a:defRPr>
                <a:latin typeface="+mn-lt"/>
              </a:defRPr>
            </a:lvl2pPr>
            <a:lvl3pPr>
              <a:buClr>
                <a:schemeClr val="accent3"/>
              </a:buClr>
              <a:defRPr>
                <a:latin typeface="+mn-lt"/>
              </a:defRPr>
            </a:lvl3pPr>
            <a:lvl4pPr marL="1600200" indent="-228600">
              <a:buClr>
                <a:schemeClr val="accent3"/>
              </a:buClr>
              <a:buFont typeface="Arial" panose="020B0604020202020204" pitchFamily="34" charset="0"/>
              <a:buChar char="-"/>
              <a:defRPr sz="1400">
                <a:latin typeface="+mn-lt"/>
                <a:cs typeface="Arial" panose="020B0604020202020204" pitchFamily="34" charset="0"/>
              </a:defRPr>
            </a:lvl4pPr>
            <a:lvl5pPr>
              <a:buClr>
                <a:schemeClr val="accent3"/>
              </a:buClr>
              <a:defRPr sz="1400"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extBox 1"/>
          <p:cNvSpPr txBox="1"/>
          <p:nvPr userDrawn="1"/>
        </p:nvSpPr>
        <p:spPr>
          <a:xfrm>
            <a:off x="1667435" y="6804212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>
              <a:solidFill>
                <a:srgbClr val="000000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7082227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14240" y="357189"/>
            <a:ext cx="10523336" cy="498475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11645901" y="-143"/>
            <a:ext cx="675217" cy="504825"/>
          </a:xfrm>
          <a:prstGeom prst="rect">
            <a:avLst/>
          </a:prstGeom>
        </p:spPr>
        <p:txBody>
          <a:bodyPr/>
          <a:lstStyle>
            <a:lvl1pPr>
              <a:defRPr sz="1100"/>
            </a:lvl1pPr>
          </a:lstStyle>
          <a:p>
            <a:pPr>
              <a:defRPr/>
            </a:pPr>
            <a:fld id="{FF1F74E8-2156-B64F-A723-2FC713503C5D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89571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2119726"/>
            <a:ext cx="12192000" cy="498475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8E27D68-75D7-1046-B88F-55C44A5ED9A6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81475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Up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 bwMode="auto">
          <a:xfrm flipH="1">
            <a:off x="714375" y="3709988"/>
            <a:ext cx="10531475" cy="0"/>
          </a:xfrm>
          <a:prstGeom prst="line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/>
            <a:ext uri="{AF507438-7753-43e0-B8FC-AC1667EBCBE1}"/>
          </a:extLst>
        </p:spPr>
      </p:cxnSp>
      <p:cxnSp>
        <p:nvCxnSpPr>
          <p:cNvPr id="8" name="Straight Connector 7"/>
          <p:cNvCxnSpPr/>
          <p:nvPr userDrawn="1"/>
        </p:nvCxnSpPr>
        <p:spPr bwMode="auto">
          <a:xfrm>
            <a:off x="6008688" y="996950"/>
            <a:ext cx="0" cy="5334000"/>
          </a:xfrm>
          <a:prstGeom prst="line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/>
            <a:ext uri="{AF507438-7753-43e0-B8FC-AC1667EBCBE1}"/>
          </a:extLst>
        </p:spPr>
      </p:cxnSp>
      <p:sp>
        <p:nvSpPr>
          <p:cNvPr id="9" name="TextBox 11"/>
          <p:cNvSpPr txBox="1">
            <a:spLocks noChangeArrowheads="1"/>
          </p:cNvSpPr>
          <p:nvPr userDrawn="1"/>
        </p:nvSpPr>
        <p:spPr bwMode="auto">
          <a:xfrm>
            <a:off x="1666875" y="6804025"/>
            <a:ext cx="185738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endParaRPr lang="en-US" altLang="en-US" smtClean="0"/>
          </a:p>
        </p:txBody>
      </p:sp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714240" y="364798"/>
            <a:ext cx="10531033" cy="51206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Content Placeholder 4"/>
          <p:cNvSpPr>
            <a:spLocks noGrp="1"/>
          </p:cNvSpPr>
          <p:nvPr>
            <p:ph sz="quarter" idx="12"/>
          </p:nvPr>
        </p:nvSpPr>
        <p:spPr>
          <a:xfrm>
            <a:off x="714240" y="1005841"/>
            <a:ext cx="5172338" cy="2624429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buClr>
                <a:schemeClr val="accent3"/>
              </a:buClr>
              <a:defRPr>
                <a:latin typeface="+mn-lt"/>
              </a:defRPr>
            </a:lvl2pPr>
            <a:lvl3pPr>
              <a:buClr>
                <a:schemeClr val="accent3"/>
              </a:buClr>
              <a:defRPr>
                <a:latin typeface="+mn-lt"/>
              </a:defRPr>
            </a:lvl3pPr>
            <a:lvl4pPr marL="1600200" indent="-228600">
              <a:buClr>
                <a:schemeClr val="accent3"/>
              </a:buClr>
              <a:buFont typeface="Arial" panose="020B0604020202020204" pitchFamily="34" charset="0"/>
              <a:buChar char="-"/>
              <a:defRPr sz="1400">
                <a:latin typeface="+mn-lt"/>
                <a:cs typeface="Arial" panose="020B0604020202020204" pitchFamily="34" charset="0"/>
              </a:defRPr>
            </a:lvl4pPr>
            <a:lvl5pPr>
              <a:buClr>
                <a:schemeClr val="accent3"/>
              </a:buClr>
              <a:defRPr sz="1400"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1" name="Content Placeholder 4"/>
          <p:cNvSpPr>
            <a:spLocks noGrp="1"/>
          </p:cNvSpPr>
          <p:nvPr>
            <p:ph sz="quarter" idx="15"/>
          </p:nvPr>
        </p:nvSpPr>
        <p:spPr>
          <a:xfrm>
            <a:off x="6134782" y="1005841"/>
            <a:ext cx="5110491" cy="2624429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buClr>
                <a:schemeClr val="accent3"/>
              </a:buClr>
              <a:defRPr>
                <a:latin typeface="+mn-lt"/>
              </a:defRPr>
            </a:lvl2pPr>
            <a:lvl3pPr>
              <a:buClr>
                <a:schemeClr val="accent3"/>
              </a:buClr>
              <a:defRPr>
                <a:latin typeface="+mn-lt"/>
              </a:defRPr>
            </a:lvl3pPr>
            <a:lvl4pPr marL="1600200" indent="-228600">
              <a:buClr>
                <a:schemeClr val="accent3"/>
              </a:buClr>
              <a:buFont typeface="Arial" panose="020B0604020202020204" pitchFamily="34" charset="0"/>
              <a:buChar char="-"/>
              <a:defRPr sz="1400">
                <a:latin typeface="+mn-lt"/>
                <a:cs typeface="Arial" panose="020B0604020202020204" pitchFamily="34" charset="0"/>
              </a:defRPr>
            </a:lvl4pPr>
            <a:lvl5pPr>
              <a:buClr>
                <a:schemeClr val="accent3"/>
              </a:buClr>
              <a:defRPr sz="1400"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ontent Placeholder 4"/>
          <p:cNvSpPr>
            <a:spLocks noGrp="1"/>
          </p:cNvSpPr>
          <p:nvPr>
            <p:ph sz="quarter" idx="22"/>
          </p:nvPr>
        </p:nvSpPr>
        <p:spPr>
          <a:xfrm>
            <a:off x="714240" y="3796577"/>
            <a:ext cx="5172338" cy="2534249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buClr>
                <a:schemeClr val="accent3"/>
              </a:buClr>
              <a:defRPr>
                <a:latin typeface="+mn-lt"/>
              </a:defRPr>
            </a:lvl2pPr>
            <a:lvl3pPr>
              <a:buClr>
                <a:schemeClr val="accent3"/>
              </a:buClr>
              <a:defRPr>
                <a:latin typeface="+mn-lt"/>
              </a:defRPr>
            </a:lvl3pPr>
            <a:lvl4pPr marL="1600200" indent="-228600">
              <a:buClr>
                <a:schemeClr val="accent3"/>
              </a:buClr>
              <a:buFont typeface="Arial" panose="020B0604020202020204" pitchFamily="34" charset="0"/>
              <a:buChar char="-"/>
              <a:defRPr sz="1400">
                <a:latin typeface="+mn-lt"/>
                <a:cs typeface="Arial" panose="020B0604020202020204" pitchFamily="34" charset="0"/>
              </a:defRPr>
            </a:lvl4pPr>
            <a:lvl5pPr>
              <a:buClr>
                <a:schemeClr val="accent3"/>
              </a:buClr>
              <a:defRPr sz="1400"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3" name="Content Placeholder 4"/>
          <p:cNvSpPr>
            <a:spLocks noGrp="1"/>
          </p:cNvSpPr>
          <p:nvPr>
            <p:ph sz="quarter" idx="23"/>
          </p:nvPr>
        </p:nvSpPr>
        <p:spPr>
          <a:xfrm>
            <a:off x="6134782" y="3796577"/>
            <a:ext cx="5110491" cy="2534249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buClr>
                <a:schemeClr val="accent3"/>
              </a:buClr>
              <a:defRPr>
                <a:latin typeface="+mn-lt"/>
              </a:defRPr>
            </a:lvl2pPr>
            <a:lvl3pPr>
              <a:buClr>
                <a:schemeClr val="accent3"/>
              </a:buClr>
              <a:defRPr>
                <a:latin typeface="+mn-lt"/>
              </a:defRPr>
            </a:lvl3pPr>
            <a:lvl4pPr marL="1600200" indent="-228600">
              <a:buClr>
                <a:schemeClr val="accent3"/>
              </a:buClr>
              <a:buFont typeface="Arial" panose="020B0604020202020204" pitchFamily="34" charset="0"/>
              <a:buChar char="-"/>
              <a:defRPr sz="1400">
                <a:latin typeface="+mn-lt"/>
                <a:cs typeface="Arial" panose="020B0604020202020204" pitchFamily="34" charset="0"/>
              </a:defRPr>
            </a:lvl4pPr>
            <a:lvl5pPr>
              <a:buClr>
                <a:schemeClr val="accent3"/>
              </a:buClr>
              <a:defRPr sz="1400"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 algn="l">
              <a:defRPr sz="1100" b="1" i="0">
                <a:solidFill>
                  <a:schemeClr val="bg1"/>
                </a:solidFill>
                <a:latin typeface="+mn-lt"/>
                <a:cs typeface="HelveticaNeue MediumCond"/>
              </a:defRPr>
            </a:lvl1pPr>
          </a:lstStyle>
          <a:p>
            <a:pPr>
              <a:defRPr/>
            </a:pPr>
            <a:fld id="{7A6399F0-1CB9-4AF2-8492-04A4C562147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380636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 Content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213784" y="6364288"/>
            <a:ext cx="11978216" cy="493712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Round Single Corner Rectangle 5"/>
          <p:cNvSpPr/>
          <p:nvPr userDrawn="1"/>
        </p:nvSpPr>
        <p:spPr>
          <a:xfrm>
            <a:off x="0" y="6364289"/>
            <a:ext cx="11584517" cy="504825"/>
          </a:xfrm>
          <a:prstGeom prst="round1Rect">
            <a:avLst>
              <a:gd name="adj" fmla="val 50000"/>
            </a:avLst>
          </a:prstGeom>
          <a:solidFill>
            <a:srgbClr val="E71D1D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Rectangle 12"/>
          <p:cNvSpPr>
            <a:spLocks noChangeArrowheads="1"/>
          </p:cNvSpPr>
          <p:nvPr userDrawn="1"/>
        </p:nvSpPr>
        <p:spPr bwMode="auto">
          <a:xfrm>
            <a:off x="4233" y="6192839"/>
            <a:ext cx="2568332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 smtClean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15 by Honeywell International Inc. All rights reserved . </a:t>
            </a:r>
          </a:p>
        </p:txBody>
      </p:sp>
      <p:sp>
        <p:nvSpPr>
          <p:cNvPr id="8" name="Rectangle 13"/>
          <p:cNvSpPr>
            <a:spLocks noChangeArrowheads="1"/>
          </p:cNvSpPr>
          <p:nvPr userDrawn="1"/>
        </p:nvSpPr>
        <p:spPr bwMode="auto">
          <a:xfrm>
            <a:off x="2889251" y="6205539"/>
            <a:ext cx="8441267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defRPr/>
            </a:pPr>
            <a:r>
              <a:rPr lang="en-US" altLang="en-US" sz="700" dirty="0" smtClean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MT STRAP 2016-2020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15384" y="6416694"/>
            <a:ext cx="11063816" cy="457200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686104" y="482889"/>
            <a:ext cx="10830680" cy="373531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22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685800" y="1074738"/>
            <a:ext cx="10670117" cy="5308600"/>
          </a:xfrm>
          <a:prstGeom prst="rect">
            <a:avLst/>
          </a:prstGeom>
        </p:spPr>
        <p:txBody>
          <a:bodyPr>
            <a:normAutofit/>
          </a:bodyPr>
          <a:lstStyle>
            <a:lvl2pPr marL="457200" indent="-169863">
              <a:defRPr/>
            </a:lvl2pPr>
            <a:lvl3pPr marL="804863" indent="-177800">
              <a:defRPr/>
            </a:lvl3pPr>
            <a:lvl4pPr marL="1201738" indent="-168275">
              <a:buClr>
                <a:schemeClr val="tx1">
                  <a:lumMod val="50000"/>
                  <a:lumOff val="50000"/>
                </a:schemeClr>
              </a:buClr>
              <a:buFontTx/>
              <a:buChar char="-"/>
              <a:defRPr sz="1400"/>
            </a:lvl4pPr>
            <a:lvl5pPr marL="1719263" indent="-177800">
              <a:buClr>
                <a:schemeClr val="tx1">
                  <a:lumMod val="50000"/>
                  <a:lumOff val="50000"/>
                </a:schemeClr>
              </a:buCl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9" name="Slide Number Placeholder 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A4F2DEF-CF02-4D4A-9D93-A93939DED191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8348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09787" y="357810"/>
            <a:ext cx="10669812" cy="498610"/>
          </a:xfrm>
        </p:spPr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709787" y="1005840"/>
            <a:ext cx="10669813" cy="5308600"/>
          </a:xfrm>
          <a:prstGeom prst="rect">
            <a:avLst/>
          </a:prstGeom>
        </p:spPr>
        <p:txBody>
          <a:bodyPr/>
          <a:lstStyle>
            <a:lvl4pPr marL="1600200" indent="-228600">
              <a:buClr>
                <a:schemeClr val="accent2"/>
              </a:buClr>
              <a:buFont typeface="Arial" panose="020B0604020202020204" pitchFamily="34" charset="0"/>
              <a:buChar char="-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accent2"/>
              </a:buCl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fld id="{FA3F9965-88A6-4677-949D-A01BE6EF631D}" type="slidenum">
              <a:rPr lang="en-US" altLang="en-US">
                <a:solidFill>
                  <a:srgbClr val="FFFFFF"/>
                </a:solidFill>
              </a:rPr>
              <a:pPr/>
              <a:t>‹#›</a:t>
            </a:fld>
            <a:endParaRPr lang="en-US" alt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673093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5992284" y="1000125"/>
            <a:ext cx="0" cy="5314950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709788" y="357810"/>
            <a:ext cx="10657769" cy="49861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Content Placeholder 4"/>
          <p:cNvSpPr>
            <a:spLocks noGrp="1"/>
          </p:cNvSpPr>
          <p:nvPr>
            <p:ph sz="quarter" idx="12"/>
          </p:nvPr>
        </p:nvSpPr>
        <p:spPr>
          <a:xfrm>
            <a:off x="709788" y="1005840"/>
            <a:ext cx="5136321" cy="5308600"/>
          </a:xfrm>
          <a:prstGeom prst="rect">
            <a:avLst/>
          </a:prstGeom>
        </p:spPr>
        <p:txBody>
          <a:bodyPr/>
          <a:lstStyle>
            <a:lvl4pPr marL="1600200" indent="-228600">
              <a:buClr>
                <a:schemeClr val="accent2"/>
              </a:buClr>
              <a:buFont typeface="Arial" panose="020B0604020202020204" pitchFamily="34" charset="0"/>
              <a:buChar char="-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accent2"/>
              </a:buCl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Content Placeholder 4"/>
          <p:cNvSpPr>
            <a:spLocks noGrp="1"/>
          </p:cNvSpPr>
          <p:nvPr>
            <p:ph sz="quarter" idx="15"/>
          </p:nvPr>
        </p:nvSpPr>
        <p:spPr>
          <a:xfrm>
            <a:off x="6129401" y="1005840"/>
            <a:ext cx="5238156" cy="5308600"/>
          </a:xfrm>
          <a:prstGeom prst="rect">
            <a:avLst/>
          </a:prstGeom>
        </p:spPr>
        <p:txBody>
          <a:bodyPr/>
          <a:lstStyle>
            <a:lvl4pPr marL="1600200" indent="-228600">
              <a:buClr>
                <a:schemeClr val="accent2"/>
              </a:buClr>
              <a:buFont typeface="Arial" panose="020B0604020202020204" pitchFamily="34" charset="0"/>
              <a:buChar char="-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accent2"/>
              </a:buCl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fld id="{5E6B746D-A4A0-4D2E-87DC-FFCA674A0EB7}" type="slidenum">
              <a:rPr lang="en-US" altLang="en-US">
                <a:solidFill>
                  <a:srgbClr val="FFFFFF"/>
                </a:solidFill>
              </a:rPr>
              <a:pPr/>
              <a:t>‹#›</a:t>
            </a:fld>
            <a:endParaRPr lang="en-US" alt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004817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-Up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/>
        </p:nvCxnSpPr>
        <p:spPr bwMode="auto">
          <a:xfrm flipH="1">
            <a:off x="706967" y="3698875"/>
            <a:ext cx="10636251" cy="0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/>
            <a:ext uri="{AF507438-7753-43e0-B8FC-AC1667EBCBE1}"/>
          </a:extLst>
        </p:spPr>
      </p:cxnSp>
      <p:cxnSp>
        <p:nvCxnSpPr>
          <p:cNvPr id="8" name="Straight Connector 7"/>
          <p:cNvCxnSpPr/>
          <p:nvPr/>
        </p:nvCxnSpPr>
        <p:spPr bwMode="auto">
          <a:xfrm>
            <a:off x="5990167" y="996950"/>
            <a:ext cx="0" cy="5445125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/>
            <a:ext uri="{AF507438-7753-43e0-B8FC-AC1667EBCBE1}"/>
          </a:extLst>
        </p:spPr>
      </p:cxnSp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706435" y="357947"/>
            <a:ext cx="10637439" cy="51206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Content Placeholder 4"/>
          <p:cNvSpPr>
            <a:spLocks noGrp="1"/>
          </p:cNvSpPr>
          <p:nvPr>
            <p:ph sz="quarter" idx="12"/>
          </p:nvPr>
        </p:nvSpPr>
        <p:spPr>
          <a:xfrm>
            <a:off x="706435" y="1005841"/>
            <a:ext cx="5165427" cy="2624429"/>
          </a:xfrm>
          <a:prstGeom prst="rect">
            <a:avLst/>
          </a:prstGeom>
        </p:spPr>
        <p:txBody>
          <a:bodyPr/>
          <a:lstStyle>
            <a:lvl4pPr marL="1600200" indent="-228600">
              <a:buClr>
                <a:schemeClr val="accent2"/>
              </a:buClr>
              <a:buFont typeface="Arial" panose="020B0604020202020204" pitchFamily="34" charset="0"/>
              <a:buChar char="-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accent2"/>
              </a:buCl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Content Placeholder 4"/>
          <p:cNvSpPr>
            <a:spLocks noGrp="1"/>
          </p:cNvSpPr>
          <p:nvPr>
            <p:ph sz="quarter" idx="15"/>
          </p:nvPr>
        </p:nvSpPr>
        <p:spPr>
          <a:xfrm>
            <a:off x="6135838" y="1005841"/>
            <a:ext cx="5208036" cy="2624429"/>
          </a:xfrm>
          <a:prstGeom prst="rect">
            <a:avLst/>
          </a:prstGeom>
        </p:spPr>
        <p:txBody>
          <a:bodyPr/>
          <a:lstStyle>
            <a:lvl4pPr marL="1600200" indent="-228600">
              <a:buClr>
                <a:schemeClr val="accent2"/>
              </a:buClr>
              <a:buFont typeface="Arial" panose="020B0604020202020204" pitchFamily="34" charset="0"/>
              <a:buChar char="-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accent2"/>
              </a:buCl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Content Placeholder 4"/>
          <p:cNvSpPr>
            <a:spLocks noGrp="1"/>
          </p:cNvSpPr>
          <p:nvPr>
            <p:ph sz="quarter" idx="22"/>
          </p:nvPr>
        </p:nvSpPr>
        <p:spPr>
          <a:xfrm>
            <a:off x="706435" y="3796577"/>
            <a:ext cx="5165427" cy="2624429"/>
          </a:xfrm>
          <a:prstGeom prst="rect">
            <a:avLst/>
          </a:prstGeom>
        </p:spPr>
        <p:txBody>
          <a:bodyPr/>
          <a:lstStyle>
            <a:lvl4pPr marL="1600200" indent="-228600">
              <a:buClr>
                <a:schemeClr val="accent2"/>
              </a:buClr>
              <a:buFont typeface="Arial" panose="020B0604020202020204" pitchFamily="34" charset="0"/>
              <a:buChar char="-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accent2"/>
              </a:buCl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Content Placeholder 4"/>
          <p:cNvSpPr>
            <a:spLocks noGrp="1"/>
          </p:cNvSpPr>
          <p:nvPr>
            <p:ph sz="quarter" idx="23"/>
          </p:nvPr>
        </p:nvSpPr>
        <p:spPr>
          <a:xfrm>
            <a:off x="6135838" y="3796577"/>
            <a:ext cx="5208036" cy="2624429"/>
          </a:xfrm>
          <a:prstGeom prst="rect">
            <a:avLst/>
          </a:prstGeom>
        </p:spPr>
        <p:txBody>
          <a:bodyPr/>
          <a:lstStyle>
            <a:lvl4pPr marL="1600200" indent="-228600">
              <a:buClr>
                <a:schemeClr val="accent2"/>
              </a:buClr>
              <a:buFont typeface="Arial" panose="020B0604020202020204" pitchFamily="34" charset="0"/>
              <a:buChar char="-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accent2"/>
              </a:buCl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/>
            </a:lvl1pPr>
          </a:lstStyle>
          <a:p>
            <a:fld id="{5B6BFA9F-FDCE-4D97-B70A-61660AE14549}" type="slidenum">
              <a:rPr lang="en-US" altLang="en-US">
                <a:solidFill>
                  <a:srgbClr val="FFFFFF"/>
                </a:solidFill>
              </a:rPr>
              <a:pPr/>
              <a:t>‹#›</a:t>
            </a:fld>
            <a:endParaRPr lang="en-US" alt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169541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6435" y="357189"/>
            <a:ext cx="10803467" cy="4984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E54C66C-89B0-4083-B354-C2FB9C83B87C}" type="slidenum">
              <a:rPr lang="en-US" altLang="en-US">
                <a:solidFill>
                  <a:srgbClr val="FFFFFF"/>
                </a:solidFill>
              </a:rPr>
              <a:pPr/>
              <a:t>‹#›</a:t>
            </a:fld>
            <a:endParaRPr lang="en-US" alt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522622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mple Text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214313" y="6364288"/>
            <a:ext cx="11977687" cy="493712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Round Single Corner Rectangle 5"/>
          <p:cNvSpPr/>
          <p:nvPr userDrawn="1"/>
        </p:nvSpPr>
        <p:spPr>
          <a:xfrm>
            <a:off x="0" y="6364288"/>
            <a:ext cx="115839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207963" y="6149975"/>
            <a:ext cx="2516187" cy="200025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 eaLnBrk="1" hangingPunct="1">
              <a:defRPr/>
            </a:pPr>
            <a:r>
              <a:rPr lang="en-US" altLang="en-US" sz="700" smtClean="0">
                <a:solidFill>
                  <a:srgbClr val="707070"/>
                </a:solidFill>
              </a:rPr>
              <a:t>© 2015 by Honeywell International Inc. All rights reserved. 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686104" y="344558"/>
            <a:ext cx="10830680" cy="511862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22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685800" y="1074738"/>
            <a:ext cx="10670117" cy="5059048"/>
          </a:xfrm>
          <a:prstGeom prst="rect">
            <a:avLst/>
          </a:prstGeom>
        </p:spPr>
        <p:txBody>
          <a:bodyPr>
            <a:normAutofit/>
          </a:bodyPr>
          <a:lstStyle>
            <a:lvl2pPr marL="457200" indent="-169863">
              <a:defRPr/>
            </a:lvl2pPr>
            <a:lvl3pPr marL="804863" indent="-177800">
              <a:defRPr/>
            </a:lvl3pPr>
            <a:lvl4pPr marL="1201738" indent="-168275">
              <a:buClr>
                <a:schemeClr val="tx1">
                  <a:lumMod val="50000"/>
                  <a:lumOff val="50000"/>
                </a:schemeClr>
              </a:buClr>
              <a:buFontTx/>
              <a:buChar char="-"/>
              <a:defRPr sz="1400"/>
            </a:lvl4pPr>
            <a:lvl5pPr marL="1719263" indent="-177800">
              <a:buClr>
                <a:schemeClr val="tx1">
                  <a:lumMod val="50000"/>
                  <a:lumOff val="50000"/>
                </a:schemeClr>
              </a:buCl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15384" y="6384610"/>
            <a:ext cx="11063816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7"/>
          </p:nvPr>
        </p:nvSpPr>
        <p:spPr>
          <a:xfrm>
            <a:off x="11645901" y="2"/>
            <a:ext cx="675217" cy="5048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5FEF15B-3260-46BA-AE73-13708383C455}" type="slidenum">
              <a:rPr lang="en-US" alt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595148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ulti-Imag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9"/>
          <p:cNvSpPr>
            <a:spLocks noGrp="1"/>
          </p:cNvSpPr>
          <p:nvPr>
            <p:ph type="body" sz="quarter" idx="13"/>
          </p:nvPr>
        </p:nvSpPr>
        <p:spPr>
          <a:xfrm>
            <a:off x="2864782" y="6222292"/>
            <a:ext cx="6617885" cy="254118"/>
          </a:xfrm>
          <a:prstGeom prst="rect">
            <a:avLst/>
          </a:prstGeom>
        </p:spPr>
        <p:txBody>
          <a:bodyPr vert="horz" anchor="ctr"/>
          <a:lstStyle>
            <a:lvl1pPr>
              <a:defRPr sz="16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Text Placeholder 17"/>
          <p:cNvSpPr>
            <a:spLocks noGrp="1"/>
          </p:cNvSpPr>
          <p:nvPr>
            <p:ph type="body" sz="quarter" idx="12"/>
          </p:nvPr>
        </p:nvSpPr>
        <p:spPr>
          <a:xfrm>
            <a:off x="2864781" y="5960247"/>
            <a:ext cx="6617887" cy="249655"/>
          </a:xfrm>
          <a:prstGeom prst="rect">
            <a:avLst/>
          </a:prstGeom>
        </p:spPr>
        <p:txBody>
          <a:bodyPr vert="horz" anchor="ctr"/>
          <a:lstStyle>
            <a:lvl1pPr>
              <a:defRPr sz="2400" b="1" i="0" cap="all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Content Placeholder 6"/>
          <p:cNvSpPr>
            <a:spLocks noGrp="1"/>
          </p:cNvSpPr>
          <p:nvPr>
            <p:ph sz="quarter" idx="10"/>
          </p:nvPr>
        </p:nvSpPr>
        <p:spPr>
          <a:xfrm>
            <a:off x="266700" y="5949950"/>
            <a:ext cx="2483273" cy="236792"/>
          </a:xfrm>
          <a:prstGeom prst="rect">
            <a:avLst/>
          </a:prstGeom>
        </p:spPr>
        <p:txBody>
          <a:bodyPr vert="horz" anchor="t"/>
          <a:lstStyle>
            <a:lvl1pPr algn="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66699" y="6199311"/>
            <a:ext cx="2483275" cy="248524"/>
          </a:xfrm>
          <a:prstGeom prst="rect">
            <a:avLst/>
          </a:prstGeom>
        </p:spPr>
        <p:txBody>
          <a:bodyPr vert="horz"/>
          <a:lstStyle>
            <a:lvl1pPr algn="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2851856" y="5959477"/>
            <a:ext cx="0" cy="492125"/>
          </a:xfrm>
          <a:prstGeom prst="line">
            <a:avLst/>
          </a:prstGeom>
          <a:ln w="9525" cmpd="sng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199712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pen Layout W/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214314" y="6364288"/>
            <a:ext cx="11977687" cy="493712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063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799">
              <a:solidFill>
                <a:srgbClr val="FFFFFF"/>
              </a:solidFill>
            </a:endParaRPr>
          </a:p>
        </p:txBody>
      </p:sp>
      <p:sp>
        <p:nvSpPr>
          <p:cNvPr id="5" name="Round Single Corner Rectangle 4"/>
          <p:cNvSpPr/>
          <p:nvPr userDrawn="1"/>
        </p:nvSpPr>
        <p:spPr>
          <a:xfrm>
            <a:off x="0" y="6364290"/>
            <a:ext cx="115839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063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799">
              <a:solidFill>
                <a:srgbClr val="FFFFFF"/>
              </a:solidFill>
            </a:endParaRP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15385" y="6384610"/>
            <a:ext cx="11063816" cy="457200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2399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 sz="1100"/>
            </a:lvl1pPr>
          </a:lstStyle>
          <a:p>
            <a:pPr>
              <a:defRPr/>
            </a:pPr>
            <a:fld id="{8D2950EC-7164-4963-973B-94C55E6F294C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203266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4240" y="357189"/>
            <a:ext cx="10523336" cy="4984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FCBBC14-82E5-48B4-B893-A4855DF86426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4" name="Picture 3" descr="Agendabild Ecke unten links"/>
          <p:cNvPicPr>
            <a:picLocks noChangeArrowheads="1"/>
          </p:cNvPicPr>
          <p:nvPr userDrawn="1">
            <p:custDataLst>
              <p:tags r:id="rId1"/>
            </p:custDataLst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0" y="1374279"/>
            <a:ext cx="3657600" cy="5483722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Rectangle 23"/>
          <p:cNvSpPr>
            <a:spLocks noChangeArrowheads="1"/>
          </p:cNvSpPr>
          <p:nvPr userDrawn="1"/>
        </p:nvSpPr>
        <p:spPr bwMode="auto">
          <a:xfrm>
            <a:off x="730250" y="6586538"/>
            <a:ext cx="2517775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altLang="en-US" sz="700" dirty="0" smtClean="0">
                <a:solidFill>
                  <a:srgbClr val="000000"/>
                </a:solidFill>
              </a:rPr>
              <a:t>© 2016 by Honeywell International Inc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245064683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14568" y="357810"/>
            <a:ext cx="10507948" cy="498610"/>
          </a:xfrm>
        </p:spPr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714568" y="1005840"/>
            <a:ext cx="10507947" cy="5308600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3"/>
              </a:buClr>
              <a:defRPr/>
            </a:lvl2pPr>
            <a:lvl3pPr>
              <a:buClr>
                <a:schemeClr val="accent3"/>
              </a:buClr>
              <a:defRPr/>
            </a:lvl3pPr>
            <a:lvl4pPr marL="1600200" indent="-228600">
              <a:buClr>
                <a:schemeClr val="accent3"/>
              </a:buClr>
              <a:buFont typeface="Arial" panose="020B0604020202020204" pitchFamily="34" charset="0"/>
              <a:buChar char="-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accent3"/>
              </a:buCl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8A27995-BCF8-4F49-84CB-AAB5B160EAB6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29106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4240" y="357189"/>
            <a:ext cx="10523336" cy="4984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21D1E3F-96BE-4EC6-B772-60D92C1E53E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430563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 userDrawn="1"/>
        </p:nvCxnSpPr>
        <p:spPr bwMode="auto">
          <a:xfrm>
            <a:off x="6008688" y="996950"/>
            <a:ext cx="0" cy="5334000"/>
          </a:xfrm>
          <a:prstGeom prst="line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/>
            <a:ext uri="{AF507438-7753-43e0-B8FC-AC1667EBCBE1}"/>
          </a:extLst>
        </p:spPr>
      </p:cxn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714567" y="357810"/>
            <a:ext cx="10499918" cy="49861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Content Placeholder 4"/>
          <p:cNvSpPr>
            <a:spLocks noGrp="1"/>
          </p:cNvSpPr>
          <p:nvPr>
            <p:ph sz="quarter" idx="12"/>
          </p:nvPr>
        </p:nvSpPr>
        <p:spPr>
          <a:xfrm>
            <a:off x="714793" y="1005840"/>
            <a:ext cx="5160304" cy="5308600"/>
          </a:xfrm>
          <a:prstGeom prst="rect">
            <a:avLst/>
          </a:prstGeom>
        </p:spPr>
        <p:txBody>
          <a:bodyPr/>
          <a:lstStyle>
            <a:lvl1pPr>
              <a:buClr>
                <a:schemeClr val="tx2"/>
              </a:buClr>
              <a:defRPr>
                <a:latin typeface="+mn-lt"/>
              </a:defRPr>
            </a:lvl1pPr>
            <a:lvl2pPr>
              <a:buClr>
                <a:schemeClr val="accent3"/>
              </a:buClr>
              <a:defRPr>
                <a:latin typeface="+mn-lt"/>
              </a:defRPr>
            </a:lvl2pPr>
            <a:lvl3pPr>
              <a:buClr>
                <a:schemeClr val="accent3"/>
              </a:buClr>
              <a:defRPr>
                <a:latin typeface="+mn-lt"/>
              </a:defRPr>
            </a:lvl3pPr>
            <a:lvl4pPr marL="1600200" indent="-228600">
              <a:buClr>
                <a:schemeClr val="accent3"/>
              </a:buClr>
              <a:buFont typeface="Arial" panose="020B0604020202020204" pitchFamily="34" charset="0"/>
              <a:buChar char="-"/>
              <a:defRPr sz="1400">
                <a:latin typeface="+mn-lt"/>
                <a:cs typeface="Arial" panose="020B0604020202020204" pitchFamily="34" charset="0"/>
              </a:defRPr>
            </a:lvl4pPr>
            <a:lvl5pPr>
              <a:buClr>
                <a:schemeClr val="accent3"/>
              </a:buClr>
              <a:defRPr sz="1400"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Content Placeholder 4"/>
          <p:cNvSpPr>
            <a:spLocks noGrp="1"/>
          </p:cNvSpPr>
          <p:nvPr>
            <p:ph sz="quarter" idx="15"/>
          </p:nvPr>
        </p:nvSpPr>
        <p:spPr>
          <a:xfrm>
            <a:off x="6150445" y="1005840"/>
            <a:ext cx="5064040" cy="53086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 marL="1600200" indent="-228600">
              <a:buClr>
                <a:schemeClr val="accent3"/>
              </a:buClr>
              <a:buFont typeface="Arial" panose="020B0604020202020204" pitchFamily="34" charset="0"/>
              <a:buChar char="-"/>
              <a:defRPr sz="1400">
                <a:latin typeface="+mn-lt"/>
                <a:cs typeface="Arial" panose="020B0604020202020204" pitchFamily="34" charset="0"/>
              </a:defRPr>
            </a:lvl4pPr>
            <a:lvl5pPr>
              <a:buClr>
                <a:schemeClr val="accent3"/>
              </a:buClr>
              <a:defRPr sz="1400"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7673ED1-BD02-464A-9378-4758C8B8813E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314947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Up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 bwMode="auto">
          <a:xfrm flipH="1">
            <a:off x="714375" y="3709988"/>
            <a:ext cx="10531475" cy="0"/>
          </a:xfrm>
          <a:prstGeom prst="line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/>
            <a:ext uri="{AF507438-7753-43e0-B8FC-AC1667EBCBE1}"/>
          </a:extLst>
        </p:spPr>
      </p:cxnSp>
      <p:cxnSp>
        <p:nvCxnSpPr>
          <p:cNvPr id="8" name="Straight Connector 7"/>
          <p:cNvCxnSpPr/>
          <p:nvPr userDrawn="1"/>
        </p:nvCxnSpPr>
        <p:spPr bwMode="auto">
          <a:xfrm>
            <a:off x="6008688" y="996950"/>
            <a:ext cx="0" cy="5334000"/>
          </a:xfrm>
          <a:prstGeom prst="line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/>
            <a:ext uri="{AF507438-7753-43e0-B8FC-AC1667EBCBE1}"/>
          </a:extLst>
        </p:spPr>
      </p:cxnSp>
      <p:sp>
        <p:nvSpPr>
          <p:cNvPr id="9" name="TextBox 11"/>
          <p:cNvSpPr txBox="1">
            <a:spLocks noChangeArrowheads="1"/>
          </p:cNvSpPr>
          <p:nvPr userDrawn="1"/>
        </p:nvSpPr>
        <p:spPr bwMode="auto">
          <a:xfrm>
            <a:off x="1666875" y="6804025"/>
            <a:ext cx="185738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714240" y="364798"/>
            <a:ext cx="10531033" cy="51206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Content Placeholder 4"/>
          <p:cNvSpPr>
            <a:spLocks noGrp="1"/>
          </p:cNvSpPr>
          <p:nvPr>
            <p:ph sz="quarter" idx="12"/>
          </p:nvPr>
        </p:nvSpPr>
        <p:spPr>
          <a:xfrm>
            <a:off x="714240" y="1005841"/>
            <a:ext cx="5172338" cy="2624429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buClr>
                <a:schemeClr val="accent3"/>
              </a:buClr>
              <a:defRPr>
                <a:latin typeface="+mn-lt"/>
              </a:defRPr>
            </a:lvl2pPr>
            <a:lvl3pPr>
              <a:buClr>
                <a:schemeClr val="accent3"/>
              </a:buClr>
              <a:defRPr>
                <a:latin typeface="+mn-lt"/>
              </a:defRPr>
            </a:lvl3pPr>
            <a:lvl4pPr marL="1600200" indent="-228600">
              <a:buClr>
                <a:schemeClr val="accent3"/>
              </a:buClr>
              <a:buFont typeface="Arial" panose="020B0604020202020204" pitchFamily="34" charset="0"/>
              <a:buChar char="-"/>
              <a:defRPr sz="1400">
                <a:latin typeface="+mn-lt"/>
                <a:cs typeface="Arial" panose="020B0604020202020204" pitchFamily="34" charset="0"/>
              </a:defRPr>
            </a:lvl4pPr>
            <a:lvl5pPr>
              <a:buClr>
                <a:schemeClr val="accent3"/>
              </a:buClr>
              <a:defRPr sz="1400"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1" name="Content Placeholder 4"/>
          <p:cNvSpPr>
            <a:spLocks noGrp="1"/>
          </p:cNvSpPr>
          <p:nvPr>
            <p:ph sz="quarter" idx="15"/>
          </p:nvPr>
        </p:nvSpPr>
        <p:spPr>
          <a:xfrm>
            <a:off x="6134782" y="1005841"/>
            <a:ext cx="5110491" cy="2624429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buClr>
                <a:schemeClr val="accent3"/>
              </a:buClr>
              <a:defRPr>
                <a:latin typeface="+mn-lt"/>
              </a:defRPr>
            </a:lvl2pPr>
            <a:lvl3pPr>
              <a:buClr>
                <a:schemeClr val="accent3"/>
              </a:buClr>
              <a:defRPr>
                <a:latin typeface="+mn-lt"/>
              </a:defRPr>
            </a:lvl3pPr>
            <a:lvl4pPr marL="1600200" indent="-228600">
              <a:buClr>
                <a:schemeClr val="accent3"/>
              </a:buClr>
              <a:buFont typeface="Arial" panose="020B0604020202020204" pitchFamily="34" charset="0"/>
              <a:buChar char="-"/>
              <a:defRPr sz="1400">
                <a:latin typeface="+mn-lt"/>
                <a:cs typeface="Arial" panose="020B0604020202020204" pitchFamily="34" charset="0"/>
              </a:defRPr>
            </a:lvl4pPr>
            <a:lvl5pPr>
              <a:buClr>
                <a:schemeClr val="accent3"/>
              </a:buClr>
              <a:defRPr sz="1400"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ontent Placeholder 4"/>
          <p:cNvSpPr>
            <a:spLocks noGrp="1"/>
          </p:cNvSpPr>
          <p:nvPr>
            <p:ph sz="quarter" idx="22"/>
          </p:nvPr>
        </p:nvSpPr>
        <p:spPr>
          <a:xfrm>
            <a:off x="714240" y="3796577"/>
            <a:ext cx="5172338" cy="2534249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buClr>
                <a:schemeClr val="accent3"/>
              </a:buClr>
              <a:defRPr>
                <a:latin typeface="+mn-lt"/>
              </a:defRPr>
            </a:lvl2pPr>
            <a:lvl3pPr>
              <a:buClr>
                <a:schemeClr val="accent3"/>
              </a:buClr>
              <a:defRPr>
                <a:latin typeface="+mn-lt"/>
              </a:defRPr>
            </a:lvl3pPr>
            <a:lvl4pPr marL="1600200" indent="-228600">
              <a:buClr>
                <a:schemeClr val="accent3"/>
              </a:buClr>
              <a:buFont typeface="Arial" panose="020B0604020202020204" pitchFamily="34" charset="0"/>
              <a:buChar char="-"/>
              <a:defRPr sz="1400">
                <a:latin typeface="+mn-lt"/>
                <a:cs typeface="Arial" panose="020B0604020202020204" pitchFamily="34" charset="0"/>
              </a:defRPr>
            </a:lvl4pPr>
            <a:lvl5pPr>
              <a:buClr>
                <a:schemeClr val="accent3"/>
              </a:buClr>
              <a:defRPr sz="1400"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3" name="Content Placeholder 4"/>
          <p:cNvSpPr>
            <a:spLocks noGrp="1"/>
          </p:cNvSpPr>
          <p:nvPr>
            <p:ph sz="quarter" idx="23"/>
          </p:nvPr>
        </p:nvSpPr>
        <p:spPr>
          <a:xfrm>
            <a:off x="6134782" y="3796577"/>
            <a:ext cx="5110491" cy="2534249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buClr>
                <a:schemeClr val="accent3"/>
              </a:buClr>
              <a:defRPr>
                <a:latin typeface="+mn-lt"/>
              </a:defRPr>
            </a:lvl2pPr>
            <a:lvl3pPr>
              <a:buClr>
                <a:schemeClr val="accent3"/>
              </a:buClr>
              <a:defRPr>
                <a:latin typeface="+mn-lt"/>
              </a:defRPr>
            </a:lvl3pPr>
            <a:lvl4pPr marL="1600200" indent="-228600">
              <a:buClr>
                <a:schemeClr val="accent3"/>
              </a:buClr>
              <a:buFont typeface="Arial" panose="020B0604020202020204" pitchFamily="34" charset="0"/>
              <a:buChar char="-"/>
              <a:defRPr sz="1400">
                <a:latin typeface="+mn-lt"/>
                <a:cs typeface="Arial" panose="020B0604020202020204" pitchFamily="34" charset="0"/>
              </a:defRPr>
            </a:lvl4pPr>
            <a:lvl5pPr>
              <a:buClr>
                <a:schemeClr val="accent3"/>
              </a:buClr>
              <a:defRPr sz="1400"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 algn="l">
              <a:defRPr sz="1100" b="1" i="0" smtClean="0">
                <a:solidFill>
                  <a:schemeClr val="bg1"/>
                </a:solidFill>
                <a:latin typeface="+mn-lt"/>
                <a:cs typeface="HelveticaNeue MediumCond"/>
              </a:defRPr>
            </a:lvl1pPr>
          </a:lstStyle>
          <a:p>
            <a:pPr>
              <a:defRPr/>
            </a:pPr>
            <a:fld id="{ABD1D956-FE46-4873-AACB-78E028F766CB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247746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4240" y="357189"/>
            <a:ext cx="10523336" cy="4984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sz="1100" smtClean="0"/>
            </a:lvl1pPr>
          </a:lstStyle>
          <a:p>
            <a:pPr>
              <a:defRPr/>
            </a:pPr>
            <a:fld id="{37848E13-0D7E-4986-B1C4-8E745B04B324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252650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2119726"/>
            <a:ext cx="12192000" cy="498475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7864EBF-B63F-4A4C-95AF-C81AB9318834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5279394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09787" y="357810"/>
            <a:ext cx="10669812" cy="498610"/>
          </a:xfrm>
        </p:spPr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709787" y="1005840"/>
            <a:ext cx="10669813" cy="5308600"/>
          </a:xfrm>
          <a:prstGeom prst="rect">
            <a:avLst/>
          </a:prstGeom>
        </p:spPr>
        <p:txBody>
          <a:bodyPr/>
          <a:lstStyle>
            <a:lvl4pPr marL="1600200" indent="-228600">
              <a:buClr>
                <a:schemeClr val="accent2"/>
              </a:buClr>
              <a:buFont typeface="Arial" panose="020B0604020202020204" pitchFamily="34" charset="0"/>
              <a:buChar char="-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accent2"/>
              </a:buCl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fld id="{FA3F9965-88A6-4677-949D-A01BE6EF631D}" type="slidenum">
              <a:rPr lang="en-US" altLang="en-US">
                <a:solidFill>
                  <a:srgbClr val="FFFFFF"/>
                </a:solidFill>
              </a:rPr>
              <a:pPr/>
              <a:t>‹#›</a:t>
            </a:fld>
            <a:endParaRPr lang="en-US" alt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123826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5992284" y="1000125"/>
            <a:ext cx="0" cy="5314950"/>
          </a:xfrm>
          <a:prstGeom prst="line">
            <a:avLst/>
          </a:prstGeom>
          <a:ln w="952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709788" y="357810"/>
            <a:ext cx="10657769" cy="49861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Content Placeholder 4"/>
          <p:cNvSpPr>
            <a:spLocks noGrp="1"/>
          </p:cNvSpPr>
          <p:nvPr>
            <p:ph sz="quarter" idx="12"/>
          </p:nvPr>
        </p:nvSpPr>
        <p:spPr>
          <a:xfrm>
            <a:off x="709788" y="1005840"/>
            <a:ext cx="5136321" cy="5308600"/>
          </a:xfrm>
          <a:prstGeom prst="rect">
            <a:avLst/>
          </a:prstGeom>
        </p:spPr>
        <p:txBody>
          <a:bodyPr/>
          <a:lstStyle>
            <a:lvl4pPr marL="1600200" indent="-228600">
              <a:buClr>
                <a:schemeClr val="accent2"/>
              </a:buClr>
              <a:buFont typeface="Arial" panose="020B0604020202020204" pitchFamily="34" charset="0"/>
              <a:buChar char="-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accent2"/>
              </a:buCl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Content Placeholder 4"/>
          <p:cNvSpPr>
            <a:spLocks noGrp="1"/>
          </p:cNvSpPr>
          <p:nvPr>
            <p:ph sz="quarter" idx="15"/>
          </p:nvPr>
        </p:nvSpPr>
        <p:spPr>
          <a:xfrm>
            <a:off x="6129401" y="1005840"/>
            <a:ext cx="5238156" cy="5308600"/>
          </a:xfrm>
          <a:prstGeom prst="rect">
            <a:avLst/>
          </a:prstGeom>
        </p:spPr>
        <p:txBody>
          <a:bodyPr/>
          <a:lstStyle>
            <a:lvl4pPr marL="1600200" indent="-228600">
              <a:buClr>
                <a:schemeClr val="accent2"/>
              </a:buClr>
              <a:buFont typeface="Arial" panose="020B0604020202020204" pitchFamily="34" charset="0"/>
              <a:buChar char="-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accent2"/>
              </a:buCl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fld id="{5E6B746D-A4A0-4D2E-87DC-FFCA674A0EB7}" type="slidenum">
              <a:rPr lang="en-US" altLang="en-US">
                <a:solidFill>
                  <a:srgbClr val="FFFFFF"/>
                </a:solidFill>
              </a:rPr>
              <a:pPr/>
              <a:t>‹#›</a:t>
            </a:fld>
            <a:endParaRPr lang="en-US" alt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510094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-Up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/>
        </p:nvCxnSpPr>
        <p:spPr bwMode="auto">
          <a:xfrm flipH="1">
            <a:off x="706967" y="3698875"/>
            <a:ext cx="10636251" cy="0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/>
            <a:ext uri="{AF507438-7753-43e0-B8FC-AC1667EBCBE1}"/>
          </a:extLst>
        </p:spPr>
      </p:cxnSp>
      <p:cxnSp>
        <p:nvCxnSpPr>
          <p:cNvPr id="8" name="Straight Connector 7"/>
          <p:cNvCxnSpPr/>
          <p:nvPr/>
        </p:nvCxnSpPr>
        <p:spPr bwMode="auto">
          <a:xfrm>
            <a:off x="5990167" y="996950"/>
            <a:ext cx="0" cy="5445125"/>
          </a:xfrm>
          <a:prstGeom prst="line">
            <a:avLst/>
          </a:prstGeom>
          <a:noFill/>
          <a:ln w="1905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/>
            <a:ext uri="{AF507438-7753-43e0-B8FC-AC1667EBCBE1}"/>
          </a:extLst>
        </p:spPr>
      </p:cxnSp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706435" y="357947"/>
            <a:ext cx="10637439" cy="51206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Content Placeholder 4"/>
          <p:cNvSpPr>
            <a:spLocks noGrp="1"/>
          </p:cNvSpPr>
          <p:nvPr>
            <p:ph sz="quarter" idx="12"/>
          </p:nvPr>
        </p:nvSpPr>
        <p:spPr>
          <a:xfrm>
            <a:off x="706435" y="1005841"/>
            <a:ext cx="5165427" cy="2624429"/>
          </a:xfrm>
          <a:prstGeom prst="rect">
            <a:avLst/>
          </a:prstGeom>
        </p:spPr>
        <p:txBody>
          <a:bodyPr/>
          <a:lstStyle>
            <a:lvl4pPr marL="1600200" indent="-228600">
              <a:buClr>
                <a:schemeClr val="accent2"/>
              </a:buClr>
              <a:buFont typeface="Arial" panose="020B0604020202020204" pitchFamily="34" charset="0"/>
              <a:buChar char="-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accent2"/>
              </a:buCl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Content Placeholder 4"/>
          <p:cNvSpPr>
            <a:spLocks noGrp="1"/>
          </p:cNvSpPr>
          <p:nvPr>
            <p:ph sz="quarter" idx="15"/>
          </p:nvPr>
        </p:nvSpPr>
        <p:spPr>
          <a:xfrm>
            <a:off x="6135838" y="1005841"/>
            <a:ext cx="5208036" cy="2624429"/>
          </a:xfrm>
          <a:prstGeom prst="rect">
            <a:avLst/>
          </a:prstGeom>
        </p:spPr>
        <p:txBody>
          <a:bodyPr/>
          <a:lstStyle>
            <a:lvl4pPr marL="1600200" indent="-228600">
              <a:buClr>
                <a:schemeClr val="accent2"/>
              </a:buClr>
              <a:buFont typeface="Arial" panose="020B0604020202020204" pitchFamily="34" charset="0"/>
              <a:buChar char="-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accent2"/>
              </a:buCl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Content Placeholder 4"/>
          <p:cNvSpPr>
            <a:spLocks noGrp="1"/>
          </p:cNvSpPr>
          <p:nvPr>
            <p:ph sz="quarter" idx="22"/>
          </p:nvPr>
        </p:nvSpPr>
        <p:spPr>
          <a:xfrm>
            <a:off x="706435" y="3796577"/>
            <a:ext cx="5165427" cy="2624429"/>
          </a:xfrm>
          <a:prstGeom prst="rect">
            <a:avLst/>
          </a:prstGeom>
        </p:spPr>
        <p:txBody>
          <a:bodyPr/>
          <a:lstStyle>
            <a:lvl4pPr marL="1600200" indent="-228600">
              <a:buClr>
                <a:schemeClr val="accent2"/>
              </a:buClr>
              <a:buFont typeface="Arial" panose="020B0604020202020204" pitchFamily="34" charset="0"/>
              <a:buChar char="-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accent2"/>
              </a:buCl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Content Placeholder 4"/>
          <p:cNvSpPr>
            <a:spLocks noGrp="1"/>
          </p:cNvSpPr>
          <p:nvPr>
            <p:ph sz="quarter" idx="23"/>
          </p:nvPr>
        </p:nvSpPr>
        <p:spPr>
          <a:xfrm>
            <a:off x="6135838" y="3796577"/>
            <a:ext cx="5208036" cy="2624429"/>
          </a:xfrm>
          <a:prstGeom prst="rect">
            <a:avLst/>
          </a:prstGeom>
        </p:spPr>
        <p:txBody>
          <a:bodyPr/>
          <a:lstStyle>
            <a:lvl4pPr marL="1600200" indent="-228600">
              <a:buClr>
                <a:schemeClr val="accent2"/>
              </a:buClr>
              <a:buFont typeface="Arial" panose="020B0604020202020204" pitchFamily="34" charset="0"/>
              <a:buChar char="-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accent2"/>
              </a:buCl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/>
            </a:lvl1pPr>
          </a:lstStyle>
          <a:p>
            <a:fld id="{5B6BFA9F-FDCE-4D97-B70A-61660AE14549}" type="slidenum">
              <a:rPr lang="en-US" altLang="en-US">
                <a:solidFill>
                  <a:srgbClr val="FFFFFF"/>
                </a:solidFill>
              </a:rPr>
              <a:pPr/>
              <a:t>‹#›</a:t>
            </a:fld>
            <a:endParaRPr lang="en-US" alt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102490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6435" y="357189"/>
            <a:ext cx="10803467" cy="4984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E54C66C-89B0-4083-B354-C2FB9C83B87C}" type="slidenum">
              <a:rPr lang="en-US" altLang="en-US">
                <a:solidFill>
                  <a:srgbClr val="FFFFFF"/>
                </a:solidFill>
              </a:rPr>
              <a:pPr/>
              <a:t>‹#›</a:t>
            </a:fld>
            <a:endParaRPr lang="en-US" alt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8292440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ulti-Imag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9"/>
          <p:cNvSpPr>
            <a:spLocks noGrp="1"/>
          </p:cNvSpPr>
          <p:nvPr>
            <p:ph type="body" sz="quarter" idx="13"/>
          </p:nvPr>
        </p:nvSpPr>
        <p:spPr>
          <a:xfrm>
            <a:off x="2864782" y="6222292"/>
            <a:ext cx="6617885" cy="254118"/>
          </a:xfrm>
          <a:prstGeom prst="rect">
            <a:avLst/>
          </a:prstGeom>
        </p:spPr>
        <p:txBody>
          <a:bodyPr vert="horz" anchor="ctr"/>
          <a:lstStyle>
            <a:lvl1pPr>
              <a:defRPr sz="16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Text Placeholder 17"/>
          <p:cNvSpPr>
            <a:spLocks noGrp="1"/>
          </p:cNvSpPr>
          <p:nvPr>
            <p:ph type="body" sz="quarter" idx="12"/>
          </p:nvPr>
        </p:nvSpPr>
        <p:spPr>
          <a:xfrm>
            <a:off x="2864781" y="5960247"/>
            <a:ext cx="6617887" cy="249655"/>
          </a:xfrm>
          <a:prstGeom prst="rect">
            <a:avLst/>
          </a:prstGeom>
        </p:spPr>
        <p:txBody>
          <a:bodyPr vert="horz" anchor="ctr"/>
          <a:lstStyle>
            <a:lvl1pPr>
              <a:defRPr sz="2400" b="1" i="0" cap="all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Content Placeholder 6"/>
          <p:cNvSpPr>
            <a:spLocks noGrp="1"/>
          </p:cNvSpPr>
          <p:nvPr>
            <p:ph sz="quarter" idx="10"/>
          </p:nvPr>
        </p:nvSpPr>
        <p:spPr>
          <a:xfrm>
            <a:off x="266700" y="5949950"/>
            <a:ext cx="2483273" cy="236792"/>
          </a:xfrm>
          <a:prstGeom prst="rect">
            <a:avLst/>
          </a:prstGeom>
        </p:spPr>
        <p:txBody>
          <a:bodyPr vert="horz" anchor="t"/>
          <a:lstStyle>
            <a:lvl1pPr algn="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66699" y="6199311"/>
            <a:ext cx="2483275" cy="248524"/>
          </a:xfrm>
          <a:prstGeom prst="rect">
            <a:avLst/>
          </a:prstGeom>
        </p:spPr>
        <p:txBody>
          <a:bodyPr vert="horz"/>
          <a:lstStyle>
            <a:lvl1pPr algn="r"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2851856" y="5959477"/>
            <a:ext cx="0" cy="492125"/>
          </a:xfrm>
          <a:prstGeom prst="line">
            <a:avLst/>
          </a:prstGeom>
          <a:ln w="9525" cmpd="sng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000149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pen Layout W/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214314" y="6364288"/>
            <a:ext cx="11977687" cy="493712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063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799">
              <a:solidFill>
                <a:srgbClr val="FFFFFF"/>
              </a:solidFill>
            </a:endParaRPr>
          </a:p>
        </p:txBody>
      </p:sp>
      <p:sp>
        <p:nvSpPr>
          <p:cNvPr id="5" name="Round Single Corner Rectangle 4"/>
          <p:cNvSpPr/>
          <p:nvPr userDrawn="1"/>
        </p:nvSpPr>
        <p:spPr>
          <a:xfrm>
            <a:off x="0" y="6364290"/>
            <a:ext cx="115839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063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799">
              <a:solidFill>
                <a:srgbClr val="FFFFFF"/>
              </a:solidFill>
            </a:endParaRP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15385" y="6384610"/>
            <a:ext cx="11063816" cy="457200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2399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 sz="1100"/>
            </a:lvl1pPr>
          </a:lstStyle>
          <a:p>
            <a:pPr>
              <a:defRPr/>
            </a:pPr>
            <a:fld id="{8D2950EC-7164-4963-973B-94C55E6F294C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53854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2119726"/>
            <a:ext cx="12192000" cy="498475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7709538-BB9A-4E8C-A50F-1F4EB6EDDB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53728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4240" y="357189"/>
            <a:ext cx="10523336" cy="4984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FCBBC14-82E5-48B4-B893-A4855DF86426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4" name="Picture 3" descr="Agendabild Ecke unten links"/>
          <p:cNvPicPr>
            <a:picLocks noChangeArrowheads="1"/>
          </p:cNvPicPr>
          <p:nvPr userDrawn="1">
            <p:custDataLst>
              <p:tags r:id="rId1"/>
            </p:custDataLst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0" y="1374279"/>
            <a:ext cx="3657600" cy="5483722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Rectangle 23"/>
          <p:cNvSpPr>
            <a:spLocks noChangeArrowheads="1"/>
          </p:cNvSpPr>
          <p:nvPr userDrawn="1"/>
        </p:nvSpPr>
        <p:spPr bwMode="auto">
          <a:xfrm>
            <a:off x="730250" y="6586538"/>
            <a:ext cx="2517775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altLang="en-US" sz="700" dirty="0" smtClean="0">
                <a:solidFill>
                  <a:srgbClr val="000000"/>
                </a:solidFill>
              </a:rPr>
              <a:t>© 2016 by Honeywell International Inc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247256924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214313" y="6364288"/>
            <a:ext cx="11977687" cy="493712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6" name="Round Single Corner Rectangle 5"/>
          <p:cNvSpPr/>
          <p:nvPr userDrawn="1"/>
        </p:nvSpPr>
        <p:spPr>
          <a:xfrm>
            <a:off x="0" y="6364288"/>
            <a:ext cx="115839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709621" y="364015"/>
            <a:ext cx="10491779" cy="51186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15384" y="6384610"/>
            <a:ext cx="11063816" cy="457200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Content Placeholder 4"/>
          <p:cNvSpPr>
            <a:spLocks noGrp="1"/>
          </p:cNvSpPr>
          <p:nvPr>
            <p:ph sz="quarter" idx="12"/>
          </p:nvPr>
        </p:nvSpPr>
        <p:spPr>
          <a:xfrm>
            <a:off x="709621" y="1005463"/>
            <a:ext cx="10491779" cy="5075237"/>
          </a:xfrm>
          <a:prstGeom prst="rect">
            <a:avLst/>
          </a:prstGeom>
        </p:spPr>
        <p:txBody>
          <a:bodyPr/>
          <a:lstStyle>
            <a:lvl2pPr>
              <a:buClr>
                <a:schemeClr val="accent3"/>
              </a:buClr>
              <a:defRPr/>
            </a:lvl2pPr>
            <a:lvl3pPr>
              <a:buClr>
                <a:schemeClr val="accent3"/>
              </a:buClr>
              <a:defRPr/>
            </a:lvl3pPr>
            <a:lvl4pPr marL="1600200" indent="-228600">
              <a:buClr>
                <a:schemeClr val="accent3"/>
              </a:buClr>
              <a:buFont typeface="Arial" panose="020B0604020202020204" pitchFamily="34" charset="0"/>
              <a:buChar char="-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accent3"/>
              </a:buCl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algn="l">
              <a:defRPr sz="1000" b="1" i="0">
                <a:solidFill>
                  <a:schemeClr val="bg1"/>
                </a:solidFill>
                <a:latin typeface="+mn-lt"/>
                <a:cs typeface="HelveticaNeue MediumCond"/>
              </a:defRPr>
            </a:lvl1pPr>
          </a:lstStyle>
          <a:p>
            <a:pPr>
              <a:defRPr/>
            </a:pPr>
            <a:fld id="{EDB926B2-095E-4571-A4EA-B3D2263F082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179465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214313" y="6364288"/>
            <a:ext cx="11977687" cy="493712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7" name="Round Single Corner Rectangle 6"/>
          <p:cNvSpPr/>
          <p:nvPr userDrawn="1"/>
        </p:nvSpPr>
        <p:spPr>
          <a:xfrm>
            <a:off x="0" y="6364288"/>
            <a:ext cx="11583988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8" name="Straight Connector 7"/>
          <p:cNvCxnSpPr/>
          <p:nvPr userDrawn="1"/>
        </p:nvCxnSpPr>
        <p:spPr bwMode="auto">
          <a:xfrm>
            <a:off x="6008688" y="996950"/>
            <a:ext cx="0" cy="5056188"/>
          </a:xfrm>
          <a:prstGeom prst="line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/>
            <a:ext uri="{AF507438-7753-43e0-B8FC-AC1667EBCBE1}"/>
          </a:extLst>
        </p:spPr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4108" y="357189"/>
            <a:ext cx="10480347" cy="4984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Content Placeholder 4"/>
          <p:cNvSpPr>
            <a:spLocks noGrp="1"/>
          </p:cNvSpPr>
          <p:nvPr>
            <p:ph sz="quarter" idx="12"/>
          </p:nvPr>
        </p:nvSpPr>
        <p:spPr>
          <a:xfrm>
            <a:off x="714108" y="1005840"/>
            <a:ext cx="5172300" cy="5047934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buClr>
                <a:schemeClr val="accent3"/>
              </a:buClr>
              <a:defRPr>
                <a:latin typeface="+mn-lt"/>
              </a:defRPr>
            </a:lvl2pPr>
            <a:lvl3pPr>
              <a:buClr>
                <a:schemeClr val="accent3"/>
              </a:buClr>
              <a:defRPr>
                <a:latin typeface="+mn-lt"/>
              </a:defRPr>
            </a:lvl3pPr>
            <a:lvl4pPr marL="1600200" indent="-228600">
              <a:buClr>
                <a:schemeClr val="accent3"/>
              </a:buClr>
              <a:buFont typeface="Arial" panose="020B0604020202020204" pitchFamily="34" charset="0"/>
              <a:buChar char="-"/>
              <a:defRPr sz="1400">
                <a:latin typeface="+mn-lt"/>
                <a:cs typeface="Arial" panose="020B0604020202020204" pitchFamily="34" charset="0"/>
              </a:defRPr>
            </a:lvl4pPr>
            <a:lvl5pPr>
              <a:buClr>
                <a:schemeClr val="accent3"/>
              </a:buClr>
              <a:defRPr sz="1400"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ontent Placeholder 4"/>
          <p:cNvSpPr>
            <a:spLocks noGrp="1"/>
          </p:cNvSpPr>
          <p:nvPr>
            <p:ph sz="quarter" idx="16"/>
          </p:nvPr>
        </p:nvSpPr>
        <p:spPr>
          <a:xfrm>
            <a:off x="6143515" y="1005840"/>
            <a:ext cx="5050940" cy="5047934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buClr>
                <a:schemeClr val="accent3"/>
              </a:buClr>
              <a:defRPr>
                <a:latin typeface="+mn-lt"/>
              </a:defRPr>
            </a:lvl2pPr>
            <a:lvl3pPr>
              <a:buClr>
                <a:schemeClr val="accent3"/>
              </a:buClr>
              <a:defRPr>
                <a:latin typeface="+mn-lt"/>
              </a:defRPr>
            </a:lvl3pPr>
            <a:lvl4pPr marL="1600200" indent="-228600">
              <a:buClr>
                <a:schemeClr val="accent3"/>
              </a:buClr>
              <a:buFont typeface="Arial" panose="020B0604020202020204" pitchFamily="34" charset="0"/>
              <a:buChar char="-"/>
              <a:defRPr sz="1400">
                <a:latin typeface="+mn-lt"/>
                <a:cs typeface="Arial" panose="020B0604020202020204" pitchFamily="34" charset="0"/>
              </a:defRPr>
            </a:lvl4pPr>
            <a:lvl5pPr>
              <a:buClr>
                <a:schemeClr val="accent3"/>
              </a:buClr>
              <a:defRPr sz="1400"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15384" y="6384610"/>
            <a:ext cx="11063816" cy="457200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Slide Number Placeholder 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55B2C39-C6CC-42D0-AE05-9F96B4FF368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24618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1.jpeg"/><Relationship Id="rId7" Type="http://schemas.openxmlformats.org/officeDocument/2006/relationships/image" Target="../media/image5.jpe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.jpeg"/><Relationship Id="rId5" Type="http://schemas.openxmlformats.org/officeDocument/2006/relationships/image" Target="../media/image3.jpeg"/><Relationship Id="rId4" Type="http://schemas.openxmlformats.org/officeDocument/2006/relationships/image" Target="../media/image2.jpeg"/><Relationship Id="rId9" Type="http://schemas.openxmlformats.org/officeDocument/2006/relationships/image" Target="../media/image7.png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image" Target="../media/image12.emf"/><Relationship Id="rId3" Type="http://schemas.openxmlformats.org/officeDocument/2006/relationships/slideLayout" Target="../slideLayouts/slideLayout53.xml"/><Relationship Id="rId7" Type="http://schemas.openxmlformats.org/officeDocument/2006/relationships/slideLayout" Target="../slideLayouts/slideLayout57.xml"/><Relationship Id="rId12" Type="http://schemas.openxmlformats.org/officeDocument/2006/relationships/oleObject" Target="../embeddings/oleObject4.bin"/><Relationship Id="rId2" Type="http://schemas.openxmlformats.org/officeDocument/2006/relationships/slideLayout" Target="../slideLayouts/slideLayout52.xml"/><Relationship Id="rId16" Type="http://schemas.openxmlformats.org/officeDocument/2006/relationships/image" Target="file:///\\localhost\Volumes\DMS-Server\Clients\Honeywell%20PPT%20\Honeywell%20-%20Freestanding%20Logos\Honeywell%20-%20Freestanding%20Logo%20RGB.png" TargetMode="Externa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tags" Target="../tags/tag7.xml"/><Relationship Id="rId5" Type="http://schemas.openxmlformats.org/officeDocument/2006/relationships/slideLayout" Target="../slideLayouts/slideLayout55.xml"/><Relationship Id="rId15" Type="http://schemas.openxmlformats.org/officeDocument/2006/relationships/image" Target="../media/image10.png"/><Relationship Id="rId10" Type="http://schemas.openxmlformats.org/officeDocument/2006/relationships/vmlDrawing" Target="../drawings/vmlDrawing4.vml"/><Relationship Id="rId4" Type="http://schemas.openxmlformats.org/officeDocument/2006/relationships/slideLayout" Target="../slideLayouts/slideLayout54.xml"/><Relationship Id="rId9" Type="http://schemas.openxmlformats.org/officeDocument/2006/relationships/theme" Target="../theme/theme10.xml"/><Relationship Id="rId14" Type="http://schemas.openxmlformats.org/officeDocument/2006/relationships/image" Target="../media/image13.jpeg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Layout" Target="../slideLayouts/slideLayout61.xml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60.xml"/><Relationship Id="rId1" Type="http://schemas.openxmlformats.org/officeDocument/2006/relationships/slideLayout" Target="../slideLayouts/slideLayout59.xml"/><Relationship Id="rId6" Type="http://schemas.openxmlformats.org/officeDocument/2006/relationships/theme" Target="../theme/theme11.xml"/><Relationship Id="rId5" Type="http://schemas.openxmlformats.org/officeDocument/2006/relationships/slideLayout" Target="../slideLayouts/slideLayout63.xml"/><Relationship Id="rId4" Type="http://schemas.openxmlformats.org/officeDocument/2006/relationships/slideLayout" Target="../slideLayouts/slideLayout62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theme" Target="../theme/theme12.xml"/><Relationship Id="rId13" Type="http://schemas.openxmlformats.org/officeDocument/2006/relationships/image" Target="../media/image13.jpeg"/><Relationship Id="rId3" Type="http://schemas.openxmlformats.org/officeDocument/2006/relationships/slideLayout" Target="../slideLayouts/slideLayout66.xml"/><Relationship Id="rId7" Type="http://schemas.openxmlformats.org/officeDocument/2006/relationships/slideLayout" Target="../slideLayouts/slideLayout70.xml"/><Relationship Id="rId12" Type="http://schemas.openxmlformats.org/officeDocument/2006/relationships/image" Target="../media/image12.emf"/><Relationship Id="rId2" Type="http://schemas.openxmlformats.org/officeDocument/2006/relationships/slideLayout" Target="../slideLayouts/slideLayout65.xml"/><Relationship Id="rId1" Type="http://schemas.openxmlformats.org/officeDocument/2006/relationships/slideLayout" Target="../slideLayouts/slideLayout64.xml"/><Relationship Id="rId6" Type="http://schemas.openxmlformats.org/officeDocument/2006/relationships/slideLayout" Target="../slideLayouts/slideLayout69.xml"/><Relationship Id="rId11" Type="http://schemas.openxmlformats.org/officeDocument/2006/relationships/oleObject" Target="../embeddings/oleObject5.bin"/><Relationship Id="rId5" Type="http://schemas.openxmlformats.org/officeDocument/2006/relationships/slideLayout" Target="../slideLayouts/slideLayout68.xml"/><Relationship Id="rId15" Type="http://schemas.openxmlformats.org/officeDocument/2006/relationships/image" Target="file:///\\localhost\Volumes\DMS-Server\Clients\Honeywell%20PPT%20\Honeywell%20-%20Freestanding%20Logos\Honeywell%20-%20Freestanding%20Logo%20RGB.png" TargetMode="External"/><Relationship Id="rId10" Type="http://schemas.openxmlformats.org/officeDocument/2006/relationships/tags" Target="../tags/tag9.xml"/><Relationship Id="rId4" Type="http://schemas.openxmlformats.org/officeDocument/2006/relationships/slideLayout" Target="../slideLayouts/slideLayout67.xml"/><Relationship Id="rId9" Type="http://schemas.openxmlformats.org/officeDocument/2006/relationships/vmlDrawing" Target="../drawings/vmlDrawing5.vml"/><Relationship Id="rId14" Type="http://schemas.openxmlformats.org/officeDocument/2006/relationships/image" Target="../media/image10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.png"/><Relationship Id="rId4" Type="http://schemas.openxmlformats.org/officeDocument/2006/relationships/image" Target="../media/image7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7.xml"/><Relationship Id="rId4" Type="http://schemas.openxmlformats.org/officeDocument/2006/relationships/slideLayout" Target="../slideLayouts/slideLayout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image" Target="../media/image11.png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2.xml"/><Relationship Id="rId10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21.xml"/><Relationship Id="rId7" Type="http://schemas.openxmlformats.org/officeDocument/2006/relationships/vmlDrawing" Target="../drawings/vmlDrawing1.vml"/><Relationship Id="rId12" Type="http://schemas.openxmlformats.org/officeDocument/2006/relationships/image" Target="../media/image10.png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theme" Target="../theme/theme5.xml"/><Relationship Id="rId11" Type="http://schemas.openxmlformats.org/officeDocument/2006/relationships/image" Target="../media/image9.png"/><Relationship Id="rId5" Type="http://schemas.openxmlformats.org/officeDocument/2006/relationships/slideLayout" Target="../slideLayouts/slideLayout23.xml"/><Relationship Id="rId10" Type="http://schemas.openxmlformats.org/officeDocument/2006/relationships/image" Target="../media/image12.emf"/><Relationship Id="rId4" Type="http://schemas.openxmlformats.org/officeDocument/2006/relationships/slideLayout" Target="../slideLayouts/slideLayout22.xml"/><Relationship Id="rId9" Type="http://schemas.openxmlformats.org/officeDocument/2006/relationships/oleObject" Target="../embeddings/oleObject1.bin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oleObject" Target="../embeddings/oleObject2.bin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tags" Target="../tags/tag3.xml"/><Relationship Id="rId17" Type="http://schemas.openxmlformats.org/officeDocument/2006/relationships/image" Target="file:///\\localhost\Volumes\DMS-Server\Clients\Honeywell%20PPT%20\Honeywell%20-%20Freestanding%20Logos\Honeywell%20-%20Freestanding%20Logo%20RGB.png" TargetMode="External"/><Relationship Id="rId2" Type="http://schemas.openxmlformats.org/officeDocument/2006/relationships/slideLayout" Target="../slideLayouts/slideLayout25.xml"/><Relationship Id="rId16" Type="http://schemas.openxmlformats.org/officeDocument/2006/relationships/image" Target="../media/image10.png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vmlDrawing" Target="../drawings/vmlDrawing2.vml"/><Relationship Id="rId5" Type="http://schemas.openxmlformats.org/officeDocument/2006/relationships/slideLayout" Target="../slideLayouts/slideLayout28.xml"/><Relationship Id="rId15" Type="http://schemas.openxmlformats.org/officeDocument/2006/relationships/image" Target="../media/image13.jpeg"/><Relationship Id="rId10" Type="http://schemas.openxmlformats.org/officeDocument/2006/relationships/theme" Target="../theme/theme6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image" Target="../media/image12.emf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Layout" Target="../slideLayouts/slideLayout35.xml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6" Type="http://schemas.openxmlformats.org/officeDocument/2006/relationships/theme" Target="../theme/theme7.xml"/><Relationship Id="rId5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6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heme" Target="../theme/theme8.xml"/><Relationship Id="rId13" Type="http://schemas.openxmlformats.org/officeDocument/2006/relationships/image" Target="../media/image13.jpeg"/><Relationship Id="rId3" Type="http://schemas.openxmlformats.org/officeDocument/2006/relationships/slideLayout" Target="../slideLayouts/slideLayout40.xml"/><Relationship Id="rId7" Type="http://schemas.openxmlformats.org/officeDocument/2006/relationships/slideLayout" Target="../slideLayouts/slideLayout44.xml"/><Relationship Id="rId12" Type="http://schemas.openxmlformats.org/officeDocument/2006/relationships/image" Target="../media/image12.emf"/><Relationship Id="rId2" Type="http://schemas.openxmlformats.org/officeDocument/2006/relationships/slideLayout" Target="../slideLayouts/slideLayout39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oleObject" Target="../embeddings/oleObject3.bin"/><Relationship Id="rId5" Type="http://schemas.openxmlformats.org/officeDocument/2006/relationships/slideLayout" Target="../slideLayouts/slideLayout42.xml"/><Relationship Id="rId15" Type="http://schemas.openxmlformats.org/officeDocument/2006/relationships/image" Target="file:///\\localhost\Volumes\DMS-Server\Clients\Honeywell%20PPT%20\Honeywell%20-%20Freestanding%20Logos\Honeywell%20-%20Freestanding%20Logo%20RGB.png" TargetMode="External"/><Relationship Id="rId10" Type="http://schemas.openxmlformats.org/officeDocument/2006/relationships/tags" Target="../tags/tag5.xml"/><Relationship Id="rId4" Type="http://schemas.openxmlformats.org/officeDocument/2006/relationships/slideLayout" Target="../slideLayouts/slideLayout41.xml"/><Relationship Id="rId9" Type="http://schemas.openxmlformats.org/officeDocument/2006/relationships/vmlDrawing" Target="../drawings/vmlDrawing3.vml"/><Relationship Id="rId14" Type="http://schemas.openxmlformats.org/officeDocument/2006/relationships/image" Target="../media/image10.pn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Layout" Target="../slideLayouts/slideLayout47.xml"/><Relationship Id="rId7" Type="http://schemas.openxmlformats.org/officeDocument/2006/relationships/theme" Target="../theme/theme9.xml"/><Relationship Id="rId2" Type="http://schemas.openxmlformats.org/officeDocument/2006/relationships/slideLayout" Target="../slideLayouts/slideLayout46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5" Type="http://schemas.openxmlformats.org/officeDocument/2006/relationships/slideLayout" Target="../slideLayouts/slideLayout49.xml"/><Relationship Id="rId4" Type="http://schemas.openxmlformats.org/officeDocument/2006/relationships/slideLayout" Target="../slideLayouts/slideLayout48.xml"/><Relationship Id="rId9" Type="http://schemas.openxmlformats.org/officeDocument/2006/relationships/image" Target="../media/image10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4703763" cy="5638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58213" y="1973263"/>
            <a:ext cx="3644900" cy="3665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8" name="Picture 12" descr="Picture2.jp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79963" y="-15875"/>
            <a:ext cx="7424737" cy="1906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9" name="Picture 13" descr="Picture3.jp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64088" y="1973263"/>
            <a:ext cx="3668712" cy="2017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14" descr="Picture5.jpg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79963" y="4052888"/>
            <a:ext cx="3659187" cy="1585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1" name="Picture 2" descr="\\localhost\Volumes\DMS-Server\Clients\Honeywell PPT \Honeywell - Freestanding Logos\Honeywell - Freestanding Logo RGB.png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69463" y="6108700"/>
            <a:ext cx="1895475" cy="354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2" name="Picture 4" descr="Corner-01 copy.png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3792538"/>
            <a:ext cx="12188825" cy="3052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3" name="Picture 10" descr="\\localhost\Volumes\DMS-Server\Clients\Honeywell PPT \Honeywell - Freestanding Logos\Honeywell - Freestanding Logo RGB.png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69463" y="6097588"/>
            <a:ext cx="1895475" cy="354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93563" r:id="rId1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9pPr>
    </p:titleStyle>
    <p:bodyStyle>
      <a:lvl1pPr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defRPr kern="1200">
          <a:solidFill>
            <a:schemeClr val="tx1"/>
          </a:solidFill>
          <a:latin typeface="Helvetica 55 Roman"/>
          <a:ea typeface="Helvetica 55 Roman"/>
          <a:cs typeface="Helvetica 55 Roman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Helvetica Neue"/>
          <a:ea typeface="Helvetica Neue"/>
          <a:cs typeface="Helvetica Neue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SzPct val="90000"/>
        <a:buFont typeface="Courier New" panose="02070309020205020404" pitchFamily="49" charset="0"/>
        <a:buChar char="o"/>
        <a:defRPr sz="1400" kern="1200">
          <a:solidFill>
            <a:schemeClr val="tx1"/>
          </a:solidFill>
          <a:latin typeface="Helvetica Neue"/>
          <a:ea typeface="Helvetica Neue"/>
          <a:cs typeface="Helvetica Neue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33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074" name="Picture 2" descr="4_3 radius.jpg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70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Rectangle 23"/>
          <p:cNvSpPr>
            <a:spLocks noChangeArrowheads="1"/>
          </p:cNvSpPr>
          <p:nvPr/>
        </p:nvSpPr>
        <p:spPr bwMode="auto">
          <a:xfrm>
            <a:off x="732368" y="6543676"/>
            <a:ext cx="5490633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en-US" sz="700" dirty="0" smtClean="0">
                <a:solidFill>
                  <a:srgbClr val="707070"/>
                </a:solidFill>
              </a:rPr>
              <a:t>Honeywell Confidential - © 2015 by Honeywell International Inc. All rights reserved. </a:t>
            </a:r>
          </a:p>
        </p:txBody>
      </p:sp>
      <p:pic>
        <p:nvPicPr>
          <p:cNvPr id="3076" name="Picture 10" descr="\\localhost\Volumes\DMS-Server\Clients\Honeywell PPT \Honeywell - Freestanding Logos\Honeywell - Freestanding Logo RGB.png"/>
          <p:cNvPicPr>
            <a:picLocks noChangeAspect="1"/>
          </p:cNvPicPr>
          <p:nvPr/>
        </p:nvPicPr>
        <p:blipFill>
          <a:blip r:embed="rId15" r:link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0388597" y="6519858"/>
            <a:ext cx="1340076" cy="2539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7" name="Title Placeholder 1"/>
          <p:cNvSpPr>
            <a:spLocks noGrp="1"/>
          </p:cNvSpPr>
          <p:nvPr>
            <p:ph type="title"/>
          </p:nvPr>
        </p:nvSpPr>
        <p:spPr bwMode="auto">
          <a:xfrm>
            <a:off x="700617" y="357189"/>
            <a:ext cx="10803467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645901" y="-28574"/>
            <a:ext cx="675217" cy="5048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000" b="1">
                <a:solidFill>
                  <a:schemeClr val="bg1"/>
                </a:solidFill>
                <a:latin typeface="HelveticaNeue MediumCond"/>
                <a:ea typeface="HelveticaNeue MediumCond"/>
                <a:cs typeface="HelveticaNeue MediumCond"/>
              </a:defRPr>
            </a:lvl1pPr>
          </a:lstStyle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</a:pPr>
            <a:fld id="{4F51396C-B56F-43D5-90E8-D13E29ACFC54}" type="slidenum">
              <a:rPr lang="en-US" altLang="en-US">
                <a:solidFill>
                  <a:srgbClr val="FFFFFF"/>
                </a:solidFill>
              </a:rPr>
              <a:pPr defTabSz="914400"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alt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04178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614" r:id="rId1"/>
    <p:sldLayoutId id="2147493615" r:id="rId2"/>
    <p:sldLayoutId id="2147493616" r:id="rId3"/>
    <p:sldLayoutId id="2147493617" r:id="rId4"/>
    <p:sldLayoutId id="2147493618" r:id="rId5"/>
    <p:sldLayoutId id="2147493619" r:id="rId6"/>
    <p:sldLayoutId id="2147493620" r:id="rId7"/>
    <p:sldLayoutId id="2147493621" r:id="rId8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lang="en-US" sz="2800" b="1" kern="1200" dirty="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69863" indent="-169863" algn="l" defTabSz="457200" rtl="0" eaLnBrk="1" fontAlgn="base" hangingPunct="1">
        <a:spcBef>
          <a:spcPct val="20000"/>
        </a:spcBef>
        <a:spcAft>
          <a:spcPct val="0"/>
        </a:spcAft>
        <a:buClr>
          <a:srgbClr val="C00000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marL="627063" indent="-169863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-"/>
        <a:defRPr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1084263" indent="-169863" algn="l" defTabSz="457200" rtl="0" eaLnBrk="1" fontAlgn="base" hangingPunct="1">
        <a:spcBef>
          <a:spcPct val="20000"/>
        </a:spcBef>
        <a:spcAft>
          <a:spcPct val="0"/>
        </a:spcAft>
        <a:buClr>
          <a:srgbClr val="7F7F7F"/>
        </a:buClr>
        <a:buSzPct val="9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corner.png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88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5" name="Title Placeholder 1"/>
          <p:cNvSpPr>
            <a:spLocks noGrp="1"/>
          </p:cNvSpPr>
          <p:nvPr>
            <p:ph type="title"/>
          </p:nvPr>
        </p:nvSpPr>
        <p:spPr bwMode="auto">
          <a:xfrm>
            <a:off x="712788" y="357188"/>
            <a:ext cx="10480675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645900" y="0"/>
            <a:ext cx="674688" cy="504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100" b="1" i="0" smtClean="0">
                <a:solidFill>
                  <a:schemeClr val="bg1"/>
                </a:solidFill>
                <a:latin typeface="+mn-lt"/>
                <a:cs typeface="HelveticaNeue MediumCond"/>
              </a:defRPr>
            </a:lvl1pPr>
          </a:lstStyle>
          <a:p>
            <a:pPr>
              <a:defRPr/>
            </a:pPr>
            <a:fld id="{D0281A01-A397-442A-BA2B-E0C262CDFC85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3077" name="Picture 10" descr="\\localhost\Volumes\DMS-Server\Clients\Honeywell PPT \Honeywell - Freestanding Logos\Honeywell - Freestanding Logo RGB.png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88600" y="6519863"/>
            <a:ext cx="1371600" cy="26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23"/>
          <p:cNvSpPr>
            <a:spLocks noChangeArrowheads="1"/>
          </p:cNvSpPr>
          <p:nvPr/>
        </p:nvSpPr>
        <p:spPr bwMode="auto">
          <a:xfrm>
            <a:off x="730250" y="6586538"/>
            <a:ext cx="35067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 smtClean="0">
                <a:solidFill>
                  <a:srgbClr val="707070"/>
                </a:solidFill>
                <a:cs typeface="Arial" panose="020B0604020202020204" pitchFamily="34" charset="0"/>
              </a:rPr>
              <a:t>Honeywell Confidential - © 2016 by Honeywell International Inc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5608002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624" r:id="rId1"/>
    <p:sldLayoutId id="2147493625" r:id="rId2"/>
    <p:sldLayoutId id="2147493626" r:id="rId3"/>
    <p:sldLayoutId id="2147493627" r:id="rId4"/>
    <p:sldLayoutId id="2147493628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en-US" sz="2800" b="1" kern="1200" dirty="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698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marL="627063" indent="-169863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-"/>
        <a:defRPr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10842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SzPct val="9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5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074" name="Picture 2" descr="4_3 radius.jpg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70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Rectangle 23"/>
          <p:cNvSpPr>
            <a:spLocks noChangeArrowheads="1"/>
          </p:cNvSpPr>
          <p:nvPr/>
        </p:nvSpPr>
        <p:spPr bwMode="auto">
          <a:xfrm>
            <a:off x="732368" y="6543676"/>
            <a:ext cx="5490633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en-US" sz="700" dirty="0" smtClean="0">
                <a:solidFill>
                  <a:srgbClr val="707070"/>
                </a:solidFill>
              </a:rPr>
              <a:t>Honeywell Confidential - © 2015 by Honeywell International Inc. All rights reserved. </a:t>
            </a:r>
          </a:p>
        </p:txBody>
      </p:sp>
      <p:pic>
        <p:nvPicPr>
          <p:cNvPr id="3076" name="Picture 10" descr="\\localhost\Volumes\DMS-Server\Clients\Honeywell PPT \Honeywell - Freestanding Logos\Honeywell - Freestanding Logo RGB.png"/>
          <p:cNvPicPr>
            <a:picLocks noChangeAspect="1"/>
          </p:cNvPicPr>
          <p:nvPr/>
        </p:nvPicPr>
        <p:blipFill>
          <a:blip r:embed="rId14" r:link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0388597" y="6519858"/>
            <a:ext cx="1340076" cy="2539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7" name="Title Placeholder 1"/>
          <p:cNvSpPr>
            <a:spLocks noGrp="1"/>
          </p:cNvSpPr>
          <p:nvPr>
            <p:ph type="title"/>
          </p:nvPr>
        </p:nvSpPr>
        <p:spPr bwMode="auto">
          <a:xfrm>
            <a:off x="700617" y="357189"/>
            <a:ext cx="10803467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645901" y="-28574"/>
            <a:ext cx="675217" cy="5048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000" b="1">
                <a:solidFill>
                  <a:schemeClr val="bg1"/>
                </a:solidFill>
                <a:latin typeface="HelveticaNeue MediumCond"/>
                <a:ea typeface="HelveticaNeue MediumCond"/>
                <a:cs typeface="HelveticaNeue MediumCond"/>
              </a:defRPr>
            </a:lvl1pPr>
          </a:lstStyle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</a:pPr>
            <a:fld id="{4F51396C-B56F-43D5-90E8-D13E29ACFC54}" type="slidenum">
              <a:rPr lang="en-US" altLang="en-US">
                <a:solidFill>
                  <a:srgbClr val="FFFFFF"/>
                </a:solidFill>
              </a:rPr>
              <a:pPr defTabSz="914400"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alt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67660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631" r:id="rId1"/>
    <p:sldLayoutId id="2147493632" r:id="rId2"/>
    <p:sldLayoutId id="2147493633" r:id="rId3"/>
    <p:sldLayoutId id="2147493634" r:id="rId4"/>
    <p:sldLayoutId id="2147493636" r:id="rId5"/>
    <p:sldLayoutId id="2147493637" r:id="rId6"/>
    <p:sldLayoutId id="2147493638" r:id="rId7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lang="en-US" sz="2800" b="1" kern="1200" dirty="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69863" indent="-169863" algn="l" defTabSz="457200" rtl="0" eaLnBrk="1" fontAlgn="base" hangingPunct="1">
        <a:spcBef>
          <a:spcPct val="20000"/>
        </a:spcBef>
        <a:spcAft>
          <a:spcPct val="0"/>
        </a:spcAft>
        <a:buClr>
          <a:srgbClr val="C00000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marL="627063" indent="-169863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-"/>
        <a:defRPr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1084263" indent="-169863" algn="l" defTabSz="457200" rtl="0" eaLnBrk="1" fontAlgn="base" hangingPunct="1">
        <a:spcBef>
          <a:spcPct val="20000"/>
        </a:spcBef>
        <a:spcAft>
          <a:spcPct val="0"/>
        </a:spcAft>
        <a:buClr>
          <a:srgbClr val="7F7F7F"/>
        </a:buClr>
        <a:buSzPct val="9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1" descr="ATail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201525" cy="6070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1" name="Picture 5" descr="Corner-01 copy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3792538"/>
            <a:ext cx="12188825" cy="3052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2" name="Picture 6" descr="\\localhost\Volumes\DMS-Server\Clients\Honeywell PPT \Honeywell - Freestanding Logos\Honeywell - Freestanding Logo RGB.png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69463" y="6097588"/>
            <a:ext cx="1895475" cy="354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93564" r:id="rId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HelveticaNeue BoldCond"/>
          <a:ea typeface="HelveticaNeue BoldCond"/>
          <a:cs typeface="HelveticaNeue BoldCond"/>
        </a:defRPr>
      </a:lvl9pPr>
    </p:titleStyle>
    <p:bodyStyle>
      <a:lvl1pPr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defRPr kern="1200">
          <a:solidFill>
            <a:schemeClr val="tx1"/>
          </a:solidFill>
          <a:latin typeface="Helvetica 55 Roman"/>
          <a:ea typeface="Helvetica 55 Roman"/>
          <a:cs typeface="Helvetica 55 Roman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Helvetica Neue"/>
          <a:ea typeface="Helvetica Neue"/>
          <a:cs typeface="Helvetica Neue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SzPct val="90000"/>
        <a:buFont typeface="Courier New" panose="02070309020205020404" pitchFamily="49" charset="0"/>
        <a:buChar char="o"/>
        <a:defRPr sz="1400" kern="1200">
          <a:solidFill>
            <a:schemeClr val="tx1"/>
          </a:solidFill>
          <a:latin typeface="Helvetica Neue"/>
          <a:ea typeface="Helvetica Neue"/>
          <a:cs typeface="Helvetica Neue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corner.png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288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5" name="Title Placeholder 1"/>
          <p:cNvSpPr>
            <a:spLocks noGrp="1"/>
          </p:cNvSpPr>
          <p:nvPr>
            <p:ph type="title"/>
          </p:nvPr>
        </p:nvSpPr>
        <p:spPr bwMode="auto">
          <a:xfrm>
            <a:off x="712788" y="357188"/>
            <a:ext cx="10480675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645900" y="0"/>
            <a:ext cx="674688" cy="504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100" b="1" i="0">
                <a:solidFill>
                  <a:schemeClr val="bg1"/>
                </a:solidFill>
                <a:latin typeface="+mn-lt"/>
                <a:cs typeface="HelveticaNeue MediumCond"/>
              </a:defRPr>
            </a:lvl1pPr>
          </a:lstStyle>
          <a:p>
            <a:pPr>
              <a:defRPr/>
            </a:pPr>
            <a:fld id="{C05CE228-874B-4B88-8E7B-BE8A2097705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3077" name="Picture 10" descr="\\localhost\Volumes\DMS-Server\Clients\Honeywell PPT \Honeywell - Freestanding Logos\Honeywell - Freestanding Logo RGB.png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388600" y="6519863"/>
            <a:ext cx="1371600" cy="26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23"/>
          <p:cNvSpPr>
            <a:spLocks noChangeArrowheads="1"/>
          </p:cNvSpPr>
          <p:nvPr/>
        </p:nvSpPr>
        <p:spPr bwMode="auto">
          <a:xfrm>
            <a:off x="730250" y="6586538"/>
            <a:ext cx="35067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smtClean="0">
                <a:solidFill>
                  <a:schemeClr val="accent3"/>
                </a:solidFill>
                <a:cs typeface="Arial" panose="020B0604020202020204" pitchFamily="34" charset="0"/>
              </a:rPr>
              <a:t>Honeywell Confidential - © 2016 by Honeywell International Inc. All rights reserved. 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3560" r:id="rId1"/>
    <p:sldLayoutId id="2147493565" r:id="rId2"/>
    <p:sldLayoutId id="2147493566" r:id="rId3"/>
    <p:sldLayoutId id="2147493561" r:id="rId4"/>
    <p:sldLayoutId id="2147493562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en-US" sz="2800" b="1" kern="1200" dirty="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698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marL="627063" indent="-169863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-"/>
        <a:defRPr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10842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SzPct val="9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1" descr="16-9 wTKaway.png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207875" cy="6865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99" name="Title Placeholder 1"/>
          <p:cNvSpPr>
            <a:spLocks noGrp="1"/>
          </p:cNvSpPr>
          <p:nvPr>
            <p:ph type="title"/>
          </p:nvPr>
        </p:nvSpPr>
        <p:spPr bwMode="auto">
          <a:xfrm>
            <a:off x="712788" y="357188"/>
            <a:ext cx="10509250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3076" name="Rectangle 23"/>
          <p:cNvSpPr>
            <a:spLocks noChangeArrowheads="1"/>
          </p:cNvSpPr>
          <p:nvPr/>
        </p:nvSpPr>
        <p:spPr bwMode="auto">
          <a:xfrm>
            <a:off x="730250" y="6164263"/>
            <a:ext cx="35067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smtClean="0">
                <a:solidFill>
                  <a:schemeClr val="accent3"/>
                </a:solidFill>
                <a:cs typeface="Arial" panose="020B0604020202020204" pitchFamily="34" charset="0"/>
              </a:rPr>
              <a:t>Honeywell Confidential - © 2016 by Honeywell International Inc. All rights reserved. 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645900" y="0"/>
            <a:ext cx="674688" cy="504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100" b="1" i="0">
                <a:solidFill>
                  <a:schemeClr val="bg1"/>
                </a:solidFill>
                <a:latin typeface="+mn-lt"/>
                <a:cs typeface="HelveticaNeue MediumCond"/>
              </a:defRPr>
            </a:lvl1pPr>
          </a:lstStyle>
          <a:p>
            <a:pPr>
              <a:defRPr/>
            </a:pPr>
            <a:fld id="{C7F57E65-5E51-47D0-99CC-FC05E212C34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3567" r:id="rId1"/>
    <p:sldLayoutId id="2147493568" r:id="rId2"/>
    <p:sldLayoutId id="2147493569" r:id="rId3"/>
    <p:sldLayoutId id="2147493570" r:id="rId4"/>
    <p:sldLayoutId id="2147493640" r:id="rId5"/>
    <p:sldLayoutId id="2147493643" r:id="rId6"/>
    <p:sldLayoutId id="2147493644" r:id="rId7"/>
    <p:sldLayoutId id="2147493645" r:id="rId8"/>
    <p:sldLayoutId id="2147493646" r:id="rId9"/>
    <p:sldLayoutId id="2147493647" r:id="rId10"/>
    <p:sldLayoutId id="2147493648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en-US" sz="2800" b="1" kern="1200" dirty="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698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marL="627063" indent="-169863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-"/>
        <a:defRPr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10842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SzPct val="9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90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corner.png"/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41" y="2"/>
            <a:ext cx="12192000" cy="6858000"/>
          </a:xfrm>
          <a:prstGeom prst="rect">
            <a:avLst/>
          </a:prstGeom>
        </p:spPr>
      </p:pic>
      <p:sp>
        <p:nvSpPr>
          <p:cNvPr id="3075" name="Title Placeholder 1"/>
          <p:cNvSpPr>
            <a:spLocks noGrp="1"/>
          </p:cNvSpPr>
          <p:nvPr>
            <p:ph type="title"/>
          </p:nvPr>
        </p:nvSpPr>
        <p:spPr bwMode="auto">
          <a:xfrm>
            <a:off x="713317" y="357189"/>
            <a:ext cx="10479960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 smtClean="0"/>
              <a:t>Click to Edit Master Title Style</a:t>
            </a:r>
            <a:endParaRPr lang="en-US" alt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645901" y="2"/>
            <a:ext cx="675217" cy="504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100" b="1" i="0">
                <a:solidFill>
                  <a:schemeClr val="bg1"/>
                </a:solidFill>
                <a:latin typeface="+mn-lt"/>
                <a:cs typeface="HelveticaNeue MediumCond"/>
              </a:defRPr>
            </a:lvl1pPr>
          </a:lstStyle>
          <a:p>
            <a:pPr>
              <a:defRPr/>
            </a:pPr>
            <a:fld id="{58E27D68-75D7-1046-B88F-55C44A5ED9A6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1" name="Picture 10" descr="\\localhost\Volumes\DMS-Server\Clients\Honeywell PPT \Honeywell - Freestanding Logos\Honeywell - Freestanding Logo RGB.png"/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388601" y="6519863"/>
            <a:ext cx="1370935" cy="2598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23"/>
          <p:cNvSpPr>
            <a:spLocks noChangeArrowheads="1"/>
          </p:cNvSpPr>
          <p:nvPr/>
        </p:nvSpPr>
        <p:spPr bwMode="auto">
          <a:xfrm>
            <a:off x="730692" y="6585829"/>
            <a:ext cx="350608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 smtClean="0">
                <a:solidFill>
                  <a:srgbClr val="707070"/>
                </a:solidFill>
                <a:cs typeface="Arial" panose="020B0604020202020204" pitchFamily="34" charset="0"/>
              </a:rPr>
              <a:t>Honeywell Confidential - © 2016 by Honeywell International Inc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10672279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574" r:id="rId1"/>
    <p:sldLayoutId id="2147493575" r:id="rId2"/>
    <p:sldLayoutId id="2147493576" r:id="rId3"/>
    <p:sldLayoutId id="2147493577" r:id="rId4"/>
    <p:sldLayoutId id="2147493578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en-US" sz="2800" b="1" kern="1200" dirty="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698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charset="0"/>
        <a:buChar char="•"/>
        <a:defRPr sz="20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marL="627063" indent="-169863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-"/>
        <a:defRPr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10842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SzPct val="90000"/>
        <a:buFont typeface="Wingdings" charset="2"/>
        <a:buChar char="§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4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074" name="Picture 2" descr="4_3 radius.jp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70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Rectangle 23"/>
          <p:cNvSpPr>
            <a:spLocks noChangeArrowheads="1"/>
          </p:cNvSpPr>
          <p:nvPr/>
        </p:nvSpPr>
        <p:spPr bwMode="auto">
          <a:xfrm>
            <a:off x="732368" y="6543676"/>
            <a:ext cx="5490633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en-US" sz="700" dirty="0" smtClean="0">
                <a:solidFill>
                  <a:srgbClr val="707070"/>
                </a:solidFill>
              </a:rPr>
              <a:t>Honeywell Confidential - © 2015 by Honeywell International Inc. All rights reserved. </a:t>
            </a:r>
          </a:p>
        </p:txBody>
      </p:sp>
      <p:pic>
        <p:nvPicPr>
          <p:cNvPr id="3076" name="Picture 10" descr="\\localhost\Volumes\DMS-Server\Clients\Honeywell PPT \Honeywell - Freestanding Logos\Honeywell - Freestanding Logo RGB.png"/>
          <p:cNvPicPr>
            <a:picLocks noChangeAspect="1"/>
          </p:cNvPicPr>
          <p:nvPr/>
        </p:nvPicPr>
        <p:blipFill>
          <a:blip r:embed="rId16" r:link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0388597" y="6519858"/>
            <a:ext cx="1340076" cy="2539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7" name="Title Placeholder 1"/>
          <p:cNvSpPr>
            <a:spLocks noGrp="1"/>
          </p:cNvSpPr>
          <p:nvPr>
            <p:ph type="title"/>
          </p:nvPr>
        </p:nvSpPr>
        <p:spPr bwMode="auto">
          <a:xfrm>
            <a:off x="700617" y="357189"/>
            <a:ext cx="10803467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645901" y="-28574"/>
            <a:ext cx="675217" cy="5048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000" b="1">
                <a:solidFill>
                  <a:schemeClr val="bg1"/>
                </a:solidFill>
                <a:latin typeface="HelveticaNeue MediumCond"/>
                <a:ea typeface="HelveticaNeue MediumCond"/>
                <a:cs typeface="HelveticaNeue MediumCond"/>
              </a:defRPr>
            </a:lvl1pPr>
          </a:lstStyle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</a:pPr>
            <a:fld id="{4F51396C-B56F-43D5-90E8-D13E29ACFC54}" type="slidenum">
              <a:rPr lang="en-US" altLang="en-US">
                <a:solidFill>
                  <a:srgbClr val="FFFFFF"/>
                </a:solidFill>
              </a:rPr>
              <a:pPr defTabSz="914400"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alt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87881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580" r:id="rId1"/>
    <p:sldLayoutId id="2147493581" r:id="rId2"/>
    <p:sldLayoutId id="2147493582" r:id="rId3"/>
    <p:sldLayoutId id="2147493583" r:id="rId4"/>
    <p:sldLayoutId id="2147493584" r:id="rId5"/>
    <p:sldLayoutId id="2147493585" r:id="rId6"/>
    <p:sldLayoutId id="2147493586" r:id="rId7"/>
    <p:sldLayoutId id="2147493587" r:id="rId8"/>
    <p:sldLayoutId id="2147493588" r:id="rId9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lang="en-US" sz="2800" b="1" kern="1200" dirty="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69863" indent="-169863" algn="l" defTabSz="457200" rtl="0" eaLnBrk="1" fontAlgn="base" hangingPunct="1">
        <a:spcBef>
          <a:spcPct val="20000"/>
        </a:spcBef>
        <a:spcAft>
          <a:spcPct val="0"/>
        </a:spcAft>
        <a:buClr>
          <a:srgbClr val="C00000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marL="627063" indent="-169863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-"/>
        <a:defRPr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1084263" indent="-169863" algn="l" defTabSz="457200" rtl="0" eaLnBrk="1" fontAlgn="base" hangingPunct="1">
        <a:spcBef>
          <a:spcPct val="20000"/>
        </a:spcBef>
        <a:spcAft>
          <a:spcPct val="0"/>
        </a:spcAft>
        <a:buClr>
          <a:srgbClr val="7F7F7F"/>
        </a:buClr>
        <a:buSzPct val="9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corner.png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88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5" name="Title Placeholder 1"/>
          <p:cNvSpPr>
            <a:spLocks noGrp="1"/>
          </p:cNvSpPr>
          <p:nvPr>
            <p:ph type="title"/>
          </p:nvPr>
        </p:nvSpPr>
        <p:spPr bwMode="auto">
          <a:xfrm>
            <a:off x="712788" y="357188"/>
            <a:ext cx="10480675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645900" y="0"/>
            <a:ext cx="674688" cy="504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100" b="1" i="0" smtClean="0">
                <a:solidFill>
                  <a:schemeClr val="bg1"/>
                </a:solidFill>
                <a:latin typeface="+mn-lt"/>
                <a:cs typeface="HelveticaNeue MediumCond"/>
              </a:defRPr>
            </a:lvl1pPr>
          </a:lstStyle>
          <a:p>
            <a:pPr>
              <a:defRPr/>
            </a:pPr>
            <a:fld id="{D0281A01-A397-442A-BA2B-E0C262CDFC85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3077" name="Picture 10" descr="\\localhost\Volumes\DMS-Server\Clients\Honeywell PPT \Honeywell - Freestanding Logos\Honeywell - Freestanding Logo RGB.png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88600" y="6519863"/>
            <a:ext cx="1371600" cy="26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23"/>
          <p:cNvSpPr>
            <a:spLocks noChangeArrowheads="1"/>
          </p:cNvSpPr>
          <p:nvPr/>
        </p:nvSpPr>
        <p:spPr bwMode="auto">
          <a:xfrm>
            <a:off x="730250" y="6586538"/>
            <a:ext cx="350678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 smtClean="0">
                <a:solidFill>
                  <a:srgbClr val="707070"/>
                </a:solidFill>
                <a:cs typeface="Arial" panose="020B0604020202020204" pitchFamily="34" charset="0"/>
              </a:rPr>
              <a:t>Honeywell Confidential - © 2016 by Honeywell International Inc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8697381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590" r:id="rId1"/>
    <p:sldLayoutId id="2147493591" r:id="rId2"/>
    <p:sldLayoutId id="2147493592" r:id="rId3"/>
    <p:sldLayoutId id="2147493593" r:id="rId4"/>
    <p:sldLayoutId id="2147493594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en-US" sz="2800" b="1" kern="1200" dirty="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698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marL="627063" indent="-169863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-"/>
        <a:defRPr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10842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SzPct val="9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38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074" name="Picture 2" descr="4_3 radius.jpg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70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Rectangle 23"/>
          <p:cNvSpPr>
            <a:spLocks noChangeArrowheads="1"/>
          </p:cNvSpPr>
          <p:nvPr/>
        </p:nvSpPr>
        <p:spPr bwMode="auto">
          <a:xfrm>
            <a:off x="732368" y="6543676"/>
            <a:ext cx="5490633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en-US" sz="700" dirty="0" smtClean="0">
                <a:solidFill>
                  <a:srgbClr val="707070"/>
                </a:solidFill>
              </a:rPr>
              <a:t>Honeywell Confidential - © 2015 by Honeywell International Inc. All rights reserved. </a:t>
            </a:r>
          </a:p>
        </p:txBody>
      </p:sp>
      <p:pic>
        <p:nvPicPr>
          <p:cNvPr id="3076" name="Picture 10" descr="\\localhost\Volumes\DMS-Server\Clients\Honeywell PPT \Honeywell - Freestanding Logos\Honeywell - Freestanding Logo RGB.png"/>
          <p:cNvPicPr>
            <a:picLocks noChangeAspect="1"/>
          </p:cNvPicPr>
          <p:nvPr/>
        </p:nvPicPr>
        <p:blipFill>
          <a:blip r:embed="rId14" r:link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0388597" y="6519858"/>
            <a:ext cx="1340076" cy="2539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7" name="Title Placeholder 1"/>
          <p:cNvSpPr>
            <a:spLocks noGrp="1"/>
          </p:cNvSpPr>
          <p:nvPr>
            <p:ph type="title"/>
          </p:nvPr>
        </p:nvSpPr>
        <p:spPr bwMode="auto">
          <a:xfrm>
            <a:off x="700617" y="357189"/>
            <a:ext cx="10803467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645901" y="-28574"/>
            <a:ext cx="675217" cy="5048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000" b="1">
                <a:solidFill>
                  <a:schemeClr val="bg1"/>
                </a:solidFill>
                <a:latin typeface="HelveticaNeue MediumCond"/>
                <a:ea typeface="HelveticaNeue MediumCond"/>
                <a:cs typeface="HelveticaNeue MediumCond"/>
              </a:defRPr>
            </a:lvl1pPr>
          </a:lstStyle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</a:pPr>
            <a:fld id="{4F51396C-B56F-43D5-90E8-D13E29ACFC54}" type="slidenum">
              <a:rPr lang="en-US" altLang="en-US">
                <a:solidFill>
                  <a:srgbClr val="FFFFFF"/>
                </a:solidFill>
              </a:rPr>
              <a:pPr defTabSz="914400"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alt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91430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596" r:id="rId1"/>
    <p:sldLayoutId id="2147493597" r:id="rId2"/>
    <p:sldLayoutId id="2147493598" r:id="rId3"/>
    <p:sldLayoutId id="2147493599" r:id="rId4"/>
    <p:sldLayoutId id="2147493601" r:id="rId5"/>
    <p:sldLayoutId id="2147493602" r:id="rId6"/>
    <p:sldLayoutId id="2147493603" r:id="rId7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lang="en-US" sz="2800" b="1" kern="1200" dirty="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69863" indent="-169863" algn="l" defTabSz="457200" rtl="0" eaLnBrk="1" fontAlgn="base" hangingPunct="1">
        <a:spcBef>
          <a:spcPct val="20000"/>
        </a:spcBef>
        <a:spcAft>
          <a:spcPct val="0"/>
        </a:spcAft>
        <a:buClr>
          <a:srgbClr val="C00000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marL="627063" indent="-169863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-"/>
        <a:defRPr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1084263" indent="-169863" algn="l" defTabSz="457200" rtl="0" eaLnBrk="1" fontAlgn="base" hangingPunct="1">
        <a:spcBef>
          <a:spcPct val="20000"/>
        </a:spcBef>
        <a:spcAft>
          <a:spcPct val="0"/>
        </a:spcAft>
        <a:buClr>
          <a:srgbClr val="7F7F7F"/>
        </a:buClr>
        <a:buSzPct val="9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orner.png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41" y="2"/>
            <a:ext cx="12192000" cy="6858000"/>
          </a:xfrm>
          <a:prstGeom prst="rect">
            <a:avLst/>
          </a:prstGeom>
        </p:spPr>
      </p:pic>
      <p:sp>
        <p:nvSpPr>
          <p:cNvPr id="3075" name="Title Placeholder 1"/>
          <p:cNvSpPr>
            <a:spLocks noGrp="1"/>
          </p:cNvSpPr>
          <p:nvPr>
            <p:ph type="title"/>
          </p:nvPr>
        </p:nvSpPr>
        <p:spPr bwMode="auto">
          <a:xfrm>
            <a:off x="713317" y="357189"/>
            <a:ext cx="10479960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 smtClean="0"/>
              <a:t>Click to Edit Master Title Style</a:t>
            </a:r>
            <a:endParaRPr lang="en-US" alt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645901" y="2"/>
            <a:ext cx="675217" cy="504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100" b="1" i="0">
                <a:solidFill>
                  <a:schemeClr val="bg1"/>
                </a:solidFill>
                <a:latin typeface="+mn-lt"/>
                <a:cs typeface="HelveticaNeue MediumCond"/>
              </a:defRPr>
            </a:lvl1pPr>
          </a:lstStyle>
          <a:p>
            <a:pPr>
              <a:defRPr/>
            </a:pPr>
            <a:fld id="{58E27D68-75D7-1046-B88F-55C44A5ED9A6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1" name="Picture 10" descr="\\localhost\Volumes\DMS-Server\Clients\Honeywell PPT \Honeywell - Freestanding Logos\Honeywell - Freestanding Logo RGB.png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388601" y="6519863"/>
            <a:ext cx="1370935" cy="2598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23"/>
          <p:cNvSpPr>
            <a:spLocks noChangeArrowheads="1"/>
          </p:cNvSpPr>
          <p:nvPr/>
        </p:nvSpPr>
        <p:spPr bwMode="auto">
          <a:xfrm>
            <a:off x="730692" y="6585829"/>
            <a:ext cx="350608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 smtClean="0">
                <a:solidFill>
                  <a:srgbClr val="707070"/>
                </a:solidFill>
                <a:cs typeface="Arial" panose="020B0604020202020204" pitchFamily="34" charset="0"/>
              </a:rPr>
              <a:t>Honeywell Confidential - © 2016 by Honeywell International Inc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11064065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606" r:id="rId1"/>
    <p:sldLayoutId id="2147493607" r:id="rId2"/>
    <p:sldLayoutId id="2147493608" r:id="rId3"/>
    <p:sldLayoutId id="2147493609" r:id="rId4"/>
    <p:sldLayoutId id="2147493610" r:id="rId5"/>
    <p:sldLayoutId id="2147493611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en-US" sz="2800" b="1" kern="1200" dirty="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698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charset="0"/>
        <a:buChar char="•"/>
        <a:defRPr sz="20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marL="627063" indent="-169863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-"/>
        <a:defRPr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1084263" indent="-169863" algn="l" defTabSz="457200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SzPct val="90000"/>
        <a:buFont typeface="Wingdings" charset="2"/>
        <a:buChar char="§"/>
        <a:defRPr sz="16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3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usatoday.com/story/news/nation-now/2017/04/06/how-climate-change-may-lead-more-severe-airplane-turbulence/100115444/" TargetMode="External"/><Relationship Id="rId3" Type="http://schemas.openxmlformats.org/officeDocument/2006/relationships/image" Target="../media/image38.jpg"/><Relationship Id="rId7" Type="http://schemas.openxmlformats.org/officeDocument/2006/relationships/hyperlink" Target="http://europa.eu/rapid/press-release_IP-17-189_en.htm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5.xml"/><Relationship Id="rId6" Type="http://schemas.openxmlformats.org/officeDocument/2006/relationships/hyperlink" Target="http://awin.aviationweek.com/ArticlesStory.aspx?id=d98503e0-5dd6-406b-b354-adbb398574db" TargetMode="External"/><Relationship Id="rId5" Type="http://schemas.openxmlformats.org/officeDocument/2006/relationships/image" Target="../media/image37.png"/><Relationship Id="rId4" Type="http://schemas.openxmlformats.org/officeDocument/2006/relationships/image" Target="../media/image35.png"/><Relationship Id="rId9" Type="http://schemas.openxmlformats.org/officeDocument/2006/relationships/hyperlink" Target="https://www.wired.com/2016/02/american-airlines-sues-gogo-over-god-awful-inflight-wi-fi/" TargetMode="Externa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openxmlformats.org/officeDocument/2006/relationships/image" Target="../media/image39.jpg"/><Relationship Id="rId7" Type="http://schemas.openxmlformats.org/officeDocument/2006/relationships/image" Target="../media/image4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40.png"/><Relationship Id="rId5" Type="http://schemas.openxmlformats.org/officeDocument/2006/relationships/image" Target="../media/image37.png"/><Relationship Id="rId4" Type="http://schemas.openxmlformats.org/officeDocument/2006/relationships/image" Target="../media/image35.png"/><Relationship Id="rId9" Type="http://schemas.openxmlformats.org/officeDocument/2006/relationships/image" Target="../media/image43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wmf"/><Relationship Id="rId3" Type="http://schemas.openxmlformats.org/officeDocument/2006/relationships/image" Target="../media/image44.jpg"/><Relationship Id="rId7" Type="http://schemas.openxmlformats.org/officeDocument/2006/relationships/image" Target="../media/image46.wm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45.wmf"/><Relationship Id="rId5" Type="http://schemas.openxmlformats.org/officeDocument/2006/relationships/image" Target="../media/image37.png"/><Relationship Id="rId10" Type="http://schemas.openxmlformats.org/officeDocument/2006/relationships/image" Target="../media/image49.wmf"/><Relationship Id="rId4" Type="http://schemas.openxmlformats.org/officeDocument/2006/relationships/image" Target="../media/image35.png"/><Relationship Id="rId9" Type="http://schemas.openxmlformats.org/officeDocument/2006/relationships/image" Target="../media/image48.wmf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13" Type="http://schemas.openxmlformats.org/officeDocument/2006/relationships/image" Target="../media/image58.png"/><Relationship Id="rId3" Type="http://schemas.openxmlformats.org/officeDocument/2006/relationships/image" Target="../media/image50.jpg"/><Relationship Id="rId7" Type="http://schemas.openxmlformats.org/officeDocument/2006/relationships/image" Target="../media/image52.png"/><Relationship Id="rId12" Type="http://schemas.openxmlformats.org/officeDocument/2006/relationships/image" Target="../media/image57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51.png"/><Relationship Id="rId11" Type="http://schemas.openxmlformats.org/officeDocument/2006/relationships/image" Target="../media/image56.png"/><Relationship Id="rId5" Type="http://schemas.openxmlformats.org/officeDocument/2006/relationships/image" Target="../media/image37.png"/><Relationship Id="rId10" Type="http://schemas.openxmlformats.org/officeDocument/2006/relationships/image" Target="../media/image55.png"/><Relationship Id="rId4" Type="http://schemas.openxmlformats.org/officeDocument/2006/relationships/image" Target="../media/image35.png"/><Relationship Id="rId9" Type="http://schemas.openxmlformats.org/officeDocument/2006/relationships/image" Target="../media/image54.png"/></Relationships>
</file>

<file path=ppt/slides/_rels/slide1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7" Type="http://schemas.microsoft.com/office/2007/relationships/hdphoto" Target="../media/hdphoto4.wdp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61.png"/><Relationship Id="rId5" Type="http://schemas.microsoft.com/office/2007/relationships/hdphoto" Target="../media/hdphoto3.wdp"/><Relationship Id="rId4" Type="http://schemas.openxmlformats.org/officeDocument/2006/relationships/image" Target="../media/image60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17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9.png"/><Relationship Id="rId13" Type="http://schemas.openxmlformats.org/officeDocument/2006/relationships/image" Target="../media/image74.png"/><Relationship Id="rId18" Type="http://schemas.microsoft.com/office/2007/relationships/hdphoto" Target="../media/hdphoto2.wdp"/><Relationship Id="rId3" Type="http://schemas.openxmlformats.org/officeDocument/2006/relationships/image" Target="../media/image64.png"/><Relationship Id="rId21" Type="http://schemas.openxmlformats.org/officeDocument/2006/relationships/image" Target="../media/image61.png"/><Relationship Id="rId7" Type="http://schemas.openxmlformats.org/officeDocument/2006/relationships/image" Target="../media/image68.png"/><Relationship Id="rId12" Type="http://schemas.openxmlformats.org/officeDocument/2006/relationships/image" Target="../media/image73.png"/><Relationship Id="rId17" Type="http://schemas.openxmlformats.org/officeDocument/2006/relationships/image" Target="../media/image59.png"/><Relationship Id="rId2" Type="http://schemas.openxmlformats.org/officeDocument/2006/relationships/image" Target="../media/image63.png"/><Relationship Id="rId16" Type="http://schemas.openxmlformats.org/officeDocument/2006/relationships/image" Target="../media/image77.png"/><Relationship Id="rId20" Type="http://schemas.microsoft.com/office/2007/relationships/hdphoto" Target="../media/hdphoto3.wdp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67.png"/><Relationship Id="rId11" Type="http://schemas.openxmlformats.org/officeDocument/2006/relationships/image" Target="../media/image72.png"/><Relationship Id="rId5" Type="http://schemas.openxmlformats.org/officeDocument/2006/relationships/image" Target="../media/image66.png"/><Relationship Id="rId15" Type="http://schemas.openxmlformats.org/officeDocument/2006/relationships/image" Target="../media/image76.png"/><Relationship Id="rId10" Type="http://schemas.openxmlformats.org/officeDocument/2006/relationships/image" Target="../media/image71.png"/><Relationship Id="rId19" Type="http://schemas.openxmlformats.org/officeDocument/2006/relationships/image" Target="../media/image60.png"/><Relationship Id="rId4" Type="http://schemas.openxmlformats.org/officeDocument/2006/relationships/image" Target="../media/image65.png"/><Relationship Id="rId9" Type="http://schemas.openxmlformats.org/officeDocument/2006/relationships/image" Target="../media/image70.png"/><Relationship Id="rId14" Type="http://schemas.openxmlformats.org/officeDocument/2006/relationships/image" Target="../media/image75.png"/><Relationship Id="rId22" Type="http://schemas.microsoft.com/office/2007/relationships/hdphoto" Target="../media/hdphoto4.wdp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1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17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6.png"/><Relationship Id="rId3" Type="http://schemas.openxmlformats.org/officeDocument/2006/relationships/image" Target="../media/image81.png"/><Relationship Id="rId7" Type="http://schemas.openxmlformats.org/officeDocument/2006/relationships/image" Target="../media/image85.png"/><Relationship Id="rId2" Type="http://schemas.openxmlformats.org/officeDocument/2006/relationships/image" Target="../media/image80.pn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84.png"/><Relationship Id="rId11" Type="http://schemas.openxmlformats.org/officeDocument/2006/relationships/image" Target="../media/image89.png"/><Relationship Id="rId5" Type="http://schemas.openxmlformats.org/officeDocument/2006/relationships/image" Target="../media/image83.png"/><Relationship Id="rId10" Type="http://schemas.openxmlformats.org/officeDocument/2006/relationships/image" Target="../media/image88.png"/><Relationship Id="rId4" Type="http://schemas.openxmlformats.org/officeDocument/2006/relationships/image" Target="../media/image82.png"/><Relationship Id="rId9" Type="http://schemas.openxmlformats.org/officeDocument/2006/relationships/image" Target="../media/image87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5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6.jpeg"/><Relationship Id="rId3" Type="http://schemas.openxmlformats.org/officeDocument/2006/relationships/image" Target="../media/image91.jpeg"/><Relationship Id="rId7" Type="http://schemas.openxmlformats.org/officeDocument/2006/relationships/image" Target="../media/image95.jpeg"/><Relationship Id="rId12" Type="http://schemas.openxmlformats.org/officeDocument/2006/relationships/image" Target="../media/image100.png"/><Relationship Id="rId2" Type="http://schemas.openxmlformats.org/officeDocument/2006/relationships/image" Target="../media/image90.jpe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94.jpeg"/><Relationship Id="rId11" Type="http://schemas.openxmlformats.org/officeDocument/2006/relationships/image" Target="../media/image99.png"/><Relationship Id="rId5" Type="http://schemas.openxmlformats.org/officeDocument/2006/relationships/image" Target="../media/image93.jpeg"/><Relationship Id="rId10" Type="http://schemas.openxmlformats.org/officeDocument/2006/relationships/image" Target="../media/image98.png"/><Relationship Id="rId4" Type="http://schemas.openxmlformats.org/officeDocument/2006/relationships/image" Target="../media/image92.png"/><Relationship Id="rId9" Type="http://schemas.openxmlformats.org/officeDocument/2006/relationships/image" Target="../media/image97.pn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7.xml"/><Relationship Id="rId4" Type="http://schemas.openxmlformats.org/officeDocument/2006/relationships/image" Target="../media/image1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9.xml"/><Relationship Id="rId4" Type="http://schemas.openxmlformats.org/officeDocument/2006/relationships/image" Target="../media/image1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8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image" Target="../media/image20.png"/><Relationship Id="rId7" Type="http://schemas.openxmlformats.org/officeDocument/2006/relationships/image" Target="../media/image23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microsoft.com/office/2007/relationships/hdphoto" Target="../media/hdphoto1.wdp"/><Relationship Id="rId9" Type="http://schemas.openxmlformats.org/officeDocument/2006/relationships/image" Target="../media/image25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13" Type="http://schemas.openxmlformats.org/officeDocument/2006/relationships/image" Target="../media/image32.png"/><Relationship Id="rId3" Type="http://schemas.openxmlformats.org/officeDocument/2006/relationships/slideLayout" Target="../slideLayouts/slideLayout16.xml"/><Relationship Id="rId7" Type="http://schemas.openxmlformats.org/officeDocument/2006/relationships/image" Target="../media/image26.png"/><Relationship Id="rId12" Type="http://schemas.openxmlformats.org/officeDocument/2006/relationships/image" Target="../media/image31.png"/><Relationship Id="rId2" Type="http://schemas.openxmlformats.org/officeDocument/2006/relationships/tags" Target="../tags/tag2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2.emf"/><Relationship Id="rId11" Type="http://schemas.openxmlformats.org/officeDocument/2006/relationships/image" Target="../media/image30.png"/><Relationship Id="rId5" Type="http://schemas.openxmlformats.org/officeDocument/2006/relationships/oleObject" Target="../embeddings/oleObject6.bin"/><Relationship Id="rId10" Type="http://schemas.openxmlformats.org/officeDocument/2006/relationships/image" Target="../media/image29.png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28.png"/><Relationship Id="rId14" Type="http://schemas.openxmlformats.org/officeDocument/2006/relationships/image" Target="../media/image33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37.png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2865438" y="6100945"/>
            <a:ext cx="6998090" cy="227013"/>
          </a:xfrm>
        </p:spPr>
        <p:txBody>
          <a:bodyPr/>
          <a:lstStyle/>
          <a:p>
            <a:r>
              <a:rPr lang="ru-RU" sz="1600" b="0" dirty="0" smtClean="0"/>
              <a:t> </a:t>
            </a:r>
            <a:r>
              <a:rPr lang="ru-RU" sz="1600" dirty="0" smtClean="0"/>
              <a:t>‘</a:t>
            </a:r>
            <a:r>
              <a:rPr lang="en-US" sz="1600" dirty="0"/>
              <a:t>CONNECTED’ </a:t>
            </a:r>
            <a:r>
              <a:rPr lang="en-US" sz="1600" dirty="0" smtClean="0"/>
              <a:t>solutions in</a:t>
            </a:r>
            <a:r>
              <a:rPr lang="ru-RU" sz="1600" dirty="0" smtClean="0"/>
              <a:t> </a:t>
            </a:r>
            <a:r>
              <a:rPr lang="en-US" sz="1600" dirty="0" smtClean="0"/>
              <a:t>HONEYWELL strategy</a:t>
            </a:r>
            <a:endParaRPr lang="en-US" sz="160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66700" y="5976327"/>
            <a:ext cx="2482850" cy="249237"/>
          </a:xfrm>
        </p:spPr>
        <p:txBody>
          <a:bodyPr/>
          <a:lstStyle/>
          <a:p>
            <a:pPr eaLnBrk="1" hangingPunct="1">
              <a:buFont typeface="Arial" charset="0"/>
              <a:buNone/>
              <a:defRPr/>
            </a:pPr>
            <a:r>
              <a:rPr lang="en-US" dirty="0" err="1" smtClean="0"/>
              <a:t>V.Dozortsev</a:t>
            </a:r>
            <a:r>
              <a:rPr lang="en-US" dirty="0" smtClean="0"/>
              <a:t>, </a:t>
            </a:r>
            <a:r>
              <a:rPr lang="en-US" dirty="0" err="1" smtClean="0"/>
              <a:t>L.Sorkin</a:t>
            </a:r>
            <a:endParaRPr lang="en-US" dirty="0" smtClean="0"/>
          </a:p>
          <a:p>
            <a:pPr eaLnBrk="1" hangingPunct="1">
              <a:buFont typeface="Arial" charset="0"/>
              <a:buNone/>
              <a:defRPr/>
            </a:pPr>
            <a:r>
              <a:rPr lang="en-US" dirty="0" smtClean="0"/>
              <a:t>June 19, </a:t>
            </a:r>
            <a:r>
              <a:rPr lang="en-US" dirty="0" smtClean="0"/>
              <a:t>2017</a:t>
            </a:r>
            <a:endParaRPr lang="en-US" dirty="0"/>
          </a:p>
        </p:txBody>
      </p:sp>
      <p:sp>
        <p:nvSpPr>
          <p:cNvPr id="6" name="BJPseudoFooter"/>
          <p:cNvSpPr txBox="1"/>
          <p:nvPr>
            <p:custDataLst>
              <p:tags r:id="rId1"/>
            </p:custDataLst>
          </p:nvPr>
        </p:nvSpPr>
        <p:spPr>
          <a:xfrm>
            <a:off x="254000" y="6657945"/>
            <a:ext cx="11938000" cy="200055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700" smtClean="0">
                <a:solidFill>
                  <a:srgbClr val="7F7F7F"/>
                </a:solidFill>
              </a:rPr>
              <a:t>Honeywell Internal</a:t>
            </a:r>
            <a:endParaRPr lang="en-US" sz="700">
              <a:solidFill>
                <a:srgbClr val="7F7F7F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21D1E3F-96BE-4EC6-B772-60D92C1E53EA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  <p:sp>
        <p:nvSpPr>
          <p:cNvPr id="16" name="Title 15"/>
          <p:cNvSpPr txBox="1">
            <a:spLocks noGrp="1"/>
          </p:cNvSpPr>
          <p:nvPr>
            <p:ph type="title" idx="4294967295"/>
          </p:nvPr>
        </p:nvSpPr>
        <p:spPr>
          <a:xfrm>
            <a:off x="1389063" y="279400"/>
            <a:ext cx="10802937" cy="4619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cap="all" spc="-15" dirty="0">
                <a:latin typeface="+mj-lt"/>
              </a:rPr>
              <a:t>The marketplace for Connected aircraft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2744" y="857250"/>
            <a:ext cx="9144000" cy="51435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10399" y="857251"/>
            <a:ext cx="1357603" cy="1357603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24610" y="5294365"/>
            <a:ext cx="1332791" cy="369812"/>
          </a:xfrm>
          <a:prstGeom prst="rect">
            <a:avLst/>
          </a:prstGeom>
        </p:spPr>
      </p:pic>
      <p:sp>
        <p:nvSpPr>
          <p:cNvPr id="9" name="Content Placeholder 2"/>
          <p:cNvSpPr txBox="1">
            <a:spLocks/>
          </p:cNvSpPr>
          <p:nvPr/>
        </p:nvSpPr>
        <p:spPr>
          <a:xfrm>
            <a:off x="2059680" y="1939183"/>
            <a:ext cx="8391150" cy="3839743"/>
          </a:xfrm>
          <a:prstGeom prst="rect">
            <a:avLst/>
          </a:prstGeom>
        </p:spPr>
        <p:txBody>
          <a:bodyPr/>
          <a:lstStyle>
            <a:lvl1pPr marL="169863" indent="-169863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00000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1pPr>
            <a:lvl2pPr marL="627063" indent="-169863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-"/>
              <a:defRPr kern="120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2pPr>
            <a:lvl3pPr marL="1084263" indent="-169863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F7F7F"/>
              </a:buClr>
              <a:buSzPct val="9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Helvetica Neue"/>
                <a:ea typeface="Helvetica Neue"/>
                <a:cs typeface="Helvetica Neue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Helvetica Neue"/>
                <a:ea typeface="Helvetica Neue"/>
                <a:cs typeface="Helvetica Neue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b="1" dirty="0">
                <a:solidFill>
                  <a:schemeClr val="bg1"/>
                </a:solidFill>
              </a:rPr>
              <a:t> </a:t>
            </a:r>
            <a:endParaRPr lang="en-US" sz="1200" dirty="0">
              <a:solidFill>
                <a:schemeClr val="bg1"/>
              </a:solidFill>
            </a:endParaRPr>
          </a:p>
          <a:p>
            <a:pPr marL="0" indent="0">
              <a:buNone/>
            </a:pPr>
            <a:r>
              <a:rPr lang="en-US" sz="1200" dirty="0">
                <a:solidFill>
                  <a:schemeClr val="bg1"/>
                </a:solidFill>
              </a:rPr>
              <a:t> </a:t>
            </a:r>
          </a:p>
        </p:txBody>
      </p:sp>
      <p:sp>
        <p:nvSpPr>
          <p:cNvPr id="23" name="Rectangle 22"/>
          <p:cNvSpPr/>
          <p:nvPr/>
        </p:nvSpPr>
        <p:spPr>
          <a:xfrm>
            <a:off x="6665088" y="2306611"/>
            <a:ext cx="3196737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“Internet Of Things Can Be Beneficial To Airline </a:t>
            </a:r>
            <a:r>
              <a:rPr lang="en-US" b="1" dirty="0" smtClean="0">
                <a:solidFill>
                  <a:schemeClr val="bg1"/>
                </a:solidFill>
              </a:rPr>
              <a:t>MROs</a:t>
            </a:r>
          </a:p>
          <a:p>
            <a:pPr algn="r"/>
            <a:r>
              <a:rPr lang="en-US" b="1" i="1" dirty="0" smtClean="0">
                <a:solidFill>
                  <a:schemeClr val="bg1"/>
                </a:solidFill>
                <a:hlinkClick r:id="rId6"/>
              </a:rPr>
              <a:t>Aviation Week</a:t>
            </a:r>
            <a:endParaRPr lang="en-US" b="1" i="1" dirty="0">
              <a:solidFill>
                <a:schemeClr val="bg1"/>
              </a:solidFill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6669916" y="4179058"/>
            <a:ext cx="3487484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“The EU tackles growing aviation emissions”</a:t>
            </a:r>
          </a:p>
          <a:p>
            <a:pPr algn="r"/>
            <a:r>
              <a:rPr lang="en-US" b="1" i="1" dirty="0">
                <a:solidFill>
                  <a:schemeClr val="bg1"/>
                </a:solidFill>
                <a:hlinkClick r:id="rId7"/>
              </a:rPr>
              <a:t>European Commission </a:t>
            </a:r>
            <a:endParaRPr lang="en-US" b="1" i="1" dirty="0">
              <a:solidFill>
                <a:schemeClr val="bg1"/>
              </a:solidFill>
            </a:endParaRPr>
          </a:p>
          <a:p>
            <a:endParaRPr lang="en-US" sz="1200" i="1" dirty="0">
              <a:solidFill>
                <a:schemeClr val="bg1"/>
              </a:solidFill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6686344" y="1622668"/>
            <a:ext cx="3196737" cy="9925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“How climate change could mean more jet turbulence”</a:t>
            </a:r>
          </a:p>
          <a:p>
            <a:pPr algn="r"/>
            <a:r>
              <a:rPr lang="en-US" sz="1050" b="1" i="1" dirty="0">
                <a:solidFill>
                  <a:srgbClr val="FF0000"/>
                </a:solidFill>
                <a:hlinkClick r:id="rId8"/>
              </a:rPr>
              <a:t>USA Today</a:t>
            </a:r>
            <a:endParaRPr lang="en-US" sz="1050" i="1" dirty="0">
              <a:solidFill>
                <a:srgbClr val="FF0000"/>
              </a:solidFill>
            </a:endParaRPr>
          </a:p>
          <a:p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6638443" y="3066099"/>
            <a:ext cx="3369689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25" b="1" dirty="0">
                <a:solidFill>
                  <a:schemeClr val="bg1"/>
                </a:solidFill>
              </a:rPr>
              <a:t>“</a:t>
            </a:r>
            <a:r>
              <a:rPr lang="en-US" b="1" dirty="0" smtClean="0">
                <a:solidFill>
                  <a:schemeClr val="bg1"/>
                </a:solidFill>
              </a:rPr>
              <a:t>American </a:t>
            </a:r>
            <a:r>
              <a:rPr lang="en-US" b="1" dirty="0">
                <a:solidFill>
                  <a:schemeClr val="bg1"/>
                </a:solidFill>
              </a:rPr>
              <a:t>Airlines Sues Gogo Over God-Awful Inflight </a:t>
            </a:r>
            <a:r>
              <a:rPr lang="en-US" b="1" dirty="0" smtClean="0">
                <a:solidFill>
                  <a:schemeClr val="bg1"/>
                </a:solidFill>
              </a:rPr>
              <a:t>Wi-Fi”</a:t>
            </a:r>
          </a:p>
          <a:p>
            <a:pPr algn="r"/>
            <a:r>
              <a:rPr lang="en-US" b="1" i="1" dirty="0">
                <a:solidFill>
                  <a:schemeClr val="bg1"/>
                </a:solidFill>
                <a:hlinkClick r:id="rId9"/>
              </a:rPr>
              <a:t>Wired</a:t>
            </a:r>
            <a:endParaRPr lang="en-US" b="1" i="1" dirty="0">
              <a:solidFill>
                <a:schemeClr val="bg1"/>
              </a:solidFill>
            </a:endParaRPr>
          </a:p>
        </p:txBody>
      </p:sp>
      <p:sp>
        <p:nvSpPr>
          <p:cNvPr id="28" name="AutoShape 4" descr="Image result for wired magazine logo"/>
          <p:cNvSpPr>
            <a:spLocks noChangeAspect="1" noChangeArrowheads="1"/>
          </p:cNvSpPr>
          <p:nvPr/>
        </p:nvSpPr>
        <p:spPr bwMode="auto">
          <a:xfrm>
            <a:off x="6342162" y="3839928"/>
            <a:ext cx="1005739" cy="10057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3" name="Rectangle 12"/>
          <p:cNvSpPr/>
          <p:nvPr/>
        </p:nvSpPr>
        <p:spPr>
          <a:xfrm>
            <a:off x="2003468" y="1580114"/>
            <a:ext cx="4167617" cy="38318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57175" indent="-257175">
              <a:spcBef>
                <a:spcPts val="90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en-US" sz="1650" dirty="0">
                <a:solidFill>
                  <a:schemeClr val="bg1">
                    <a:lumMod val="95000"/>
                  </a:schemeClr>
                </a:solidFill>
              </a:rPr>
              <a:t>Worldwide flight delays cost airlines </a:t>
            </a:r>
            <a:r>
              <a:rPr lang="en-US" sz="1650" dirty="0" smtClean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en-US" sz="1650" u="sng" dirty="0" smtClean="0">
                <a:solidFill>
                  <a:schemeClr val="bg1">
                    <a:lumMod val="95000"/>
                  </a:schemeClr>
                </a:solidFill>
              </a:rPr>
              <a:t>$</a:t>
            </a:r>
            <a:r>
              <a:rPr lang="en-US" sz="1650" u="sng" dirty="0">
                <a:solidFill>
                  <a:schemeClr val="bg1">
                    <a:lumMod val="95000"/>
                  </a:schemeClr>
                </a:solidFill>
              </a:rPr>
              <a:t>25 Billion.</a:t>
            </a:r>
          </a:p>
          <a:p>
            <a:pPr marL="257175" indent="-257175">
              <a:spcBef>
                <a:spcPts val="90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en-US" sz="1650" dirty="0">
                <a:solidFill>
                  <a:schemeClr val="bg1">
                    <a:lumMod val="95000"/>
                  </a:schemeClr>
                </a:solidFill>
                <a:latin typeface="+mn-lt"/>
              </a:rPr>
              <a:t>A grounded commercial passenger jet while being worked on can cost up to </a:t>
            </a:r>
            <a:r>
              <a:rPr lang="en-US" sz="1650" u="sng" dirty="0">
                <a:solidFill>
                  <a:schemeClr val="bg1">
                    <a:lumMod val="95000"/>
                  </a:schemeClr>
                </a:solidFill>
                <a:latin typeface="+mn-lt"/>
              </a:rPr>
              <a:t>$10,000/an hour.</a:t>
            </a:r>
          </a:p>
          <a:p>
            <a:pPr marL="257175" indent="-257175">
              <a:spcBef>
                <a:spcPts val="90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en-US" sz="1650" dirty="0">
                <a:solidFill>
                  <a:schemeClr val="bg1">
                    <a:lumMod val="95000"/>
                  </a:schemeClr>
                </a:solidFill>
                <a:latin typeface="+mn-lt"/>
              </a:rPr>
              <a:t>A single twin-engine aircraft can generate up to </a:t>
            </a:r>
            <a:r>
              <a:rPr lang="en-US" sz="1650" u="sng" dirty="0">
                <a:solidFill>
                  <a:schemeClr val="bg1">
                    <a:lumMod val="95000"/>
                  </a:schemeClr>
                </a:solidFill>
                <a:latin typeface="+mn-lt"/>
              </a:rPr>
              <a:t>844 TB of data </a:t>
            </a:r>
            <a:r>
              <a:rPr lang="en-US" sz="1650" dirty="0">
                <a:solidFill>
                  <a:schemeClr val="bg1">
                    <a:lumMod val="95000"/>
                  </a:schemeClr>
                </a:solidFill>
                <a:latin typeface="+mn-lt"/>
              </a:rPr>
              <a:t>from 12 hours of flight, which is approximately 27,000 32GB iPhone 7s.</a:t>
            </a:r>
          </a:p>
          <a:p>
            <a:pPr marL="257175" indent="-257175">
              <a:spcBef>
                <a:spcPts val="90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en-US" sz="1650" dirty="0">
                <a:solidFill>
                  <a:schemeClr val="bg1">
                    <a:lumMod val="95000"/>
                  </a:schemeClr>
                </a:solidFill>
                <a:latin typeface="+mn-lt"/>
              </a:rPr>
              <a:t>An Airbus A380 is fitted with as many as </a:t>
            </a:r>
            <a:r>
              <a:rPr lang="en-US" sz="1650" u="sng" dirty="0">
                <a:solidFill>
                  <a:schemeClr val="bg1">
                    <a:lumMod val="95000"/>
                  </a:schemeClr>
                </a:solidFill>
                <a:latin typeface="+mn-lt"/>
              </a:rPr>
              <a:t>25,000 sensors</a:t>
            </a:r>
            <a:r>
              <a:rPr lang="en-US" sz="1650" dirty="0">
                <a:solidFill>
                  <a:schemeClr val="bg1">
                    <a:lumMod val="95000"/>
                  </a:schemeClr>
                </a:solidFill>
                <a:latin typeface="+mn-lt"/>
              </a:rPr>
              <a:t>.</a:t>
            </a:r>
          </a:p>
          <a:p>
            <a:pPr marL="257175" indent="-257175">
              <a:spcBef>
                <a:spcPts val="90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endParaRPr lang="en-US" sz="1650" u="sng" dirty="0">
              <a:solidFill>
                <a:schemeClr val="bg1">
                  <a:lumMod val="95000"/>
                </a:schemeClr>
              </a:solidFill>
              <a:latin typeface="+mn-lt"/>
            </a:endParaRPr>
          </a:p>
          <a:p>
            <a:endParaRPr lang="en-US" sz="1500" dirty="0">
              <a:solidFill>
                <a:schemeClr val="bg1">
                  <a:lumMod val="95000"/>
                </a:schemeClr>
              </a:solidFill>
              <a:latin typeface="+mn-lt"/>
            </a:endParaRPr>
          </a:p>
        </p:txBody>
      </p:sp>
      <p:cxnSp>
        <p:nvCxnSpPr>
          <p:cNvPr id="10" name="Straight Connector 9"/>
          <p:cNvCxnSpPr/>
          <p:nvPr/>
        </p:nvCxnSpPr>
        <p:spPr>
          <a:xfrm>
            <a:off x="6232770" y="2030285"/>
            <a:ext cx="0" cy="2990334"/>
          </a:xfrm>
          <a:prstGeom prst="line">
            <a:avLst/>
          </a:prstGeom>
          <a:ln w="38100" cmpd="sng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3693114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000" y="1056504"/>
            <a:ext cx="9144000" cy="5143500"/>
          </a:xfrm>
          <a:prstGeom prst="rect">
            <a:avLst/>
          </a:prstGeom>
        </p:spPr>
      </p:pic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0121559-6FAE-4C9F-95D5-751370D9C50E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10399" y="857251"/>
            <a:ext cx="1357603" cy="1357603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4674684" y="1584199"/>
            <a:ext cx="5311955" cy="85408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marL="214313" indent="-214313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650" dirty="0">
                <a:solidFill>
                  <a:schemeClr val="bg1"/>
                </a:solidFill>
              </a:rPr>
              <a:t>Reduces fuel costs and emissions up to 5% </a:t>
            </a:r>
          </a:p>
          <a:p>
            <a:pPr marL="214313" indent="-214313"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3646885" algn="l"/>
              </a:tabLst>
            </a:pPr>
            <a:r>
              <a:rPr lang="en-US" sz="1650" dirty="0">
                <a:solidFill>
                  <a:schemeClr val="bg1"/>
                </a:solidFill>
              </a:rPr>
              <a:t>Reduces operational disruptions by up to 35%</a:t>
            </a:r>
          </a:p>
          <a:p>
            <a:pPr marL="214313" indent="-214313"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3646885" algn="l"/>
              </a:tabLst>
            </a:pPr>
            <a:r>
              <a:rPr lang="en-US" sz="1650" dirty="0">
                <a:solidFill>
                  <a:schemeClr val="bg1"/>
                </a:solidFill>
              </a:rPr>
              <a:t>Cut down Inoperative Equipment by up to 86%</a:t>
            </a:r>
          </a:p>
        </p:txBody>
      </p:sp>
      <p:sp>
        <p:nvSpPr>
          <p:cNvPr id="6" name="Rectangle 5"/>
          <p:cNvSpPr/>
          <p:nvPr/>
        </p:nvSpPr>
        <p:spPr>
          <a:xfrm>
            <a:off x="4674684" y="3447068"/>
            <a:ext cx="5311955" cy="85408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marL="214313" indent="-214313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650" dirty="0">
                <a:solidFill>
                  <a:schemeClr val="bg1"/>
                </a:solidFill>
              </a:rPr>
              <a:t>Cuts the cost of network disruption</a:t>
            </a:r>
          </a:p>
          <a:p>
            <a:pPr marL="214313" indent="-214313"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3646885" algn="l"/>
              </a:tabLst>
            </a:pPr>
            <a:r>
              <a:rPr lang="en-US" sz="1650" dirty="0">
                <a:solidFill>
                  <a:schemeClr val="bg1"/>
                </a:solidFill>
              </a:rPr>
              <a:t>Saves up to 5% in flight time with ATC priority </a:t>
            </a:r>
          </a:p>
          <a:p>
            <a:pPr marL="214313" indent="-214313"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3646885" algn="l"/>
              </a:tabLst>
            </a:pPr>
            <a:r>
              <a:rPr lang="en-US" sz="1650" dirty="0">
                <a:solidFill>
                  <a:schemeClr val="bg1"/>
                </a:solidFill>
              </a:rPr>
              <a:t>Improves arrival times and dispatch speed</a:t>
            </a:r>
          </a:p>
        </p:txBody>
      </p:sp>
      <p:sp>
        <p:nvSpPr>
          <p:cNvPr id="16" name="Rectangle 15"/>
          <p:cNvSpPr/>
          <p:nvPr/>
        </p:nvSpPr>
        <p:spPr>
          <a:xfrm>
            <a:off x="4659097" y="4400303"/>
            <a:ext cx="4551545" cy="13619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14313" indent="-214313"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3646885" algn="l"/>
              </a:tabLst>
            </a:pPr>
            <a:r>
              <a:rPr lang="en-US" sz="1650" dirty="0">
                <a:solidFill>
                  <a:schemeClr val="bg1"/>
                </a:solidFill>
              </a:rPr>
              <a:t>Reduces “grounded” time</a:t>
            </a:r>
          </a:p>
          <a:p>
            <a:pPr marL="214313" indent="-214313"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3646885" algn="l"/>
              </a:tabLst>
            </a:pPr>
            <a:r>
              <a:rPr lang="en-US" sz="1650" dirty="0">
                <a:solidFill>
                  <a:schemeClr val="bg1"/>
                </a:solidFill>
              </a:rPr>
              <a:t>Avoids costly hazards</a:t>
            </a:r>
          </a:p>
          <a:p>
            <a:pPr marL="214313" indent="-214313"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3646885" algn="l"/>
              </a:tabLst>
            </a:pPr>
            <a:r>
              <a:rPr lang="en-US" sz="1650" dirty="0">
                <a:solidFill>
                  <a:schemeClr val="bg1"/>
                </a:solidFill>
              </a:rPr>
              <a:t>Cuts troubleshooting time by up to 25%</a:t>
            </a:r>
          </a:p>
          <a:p>
            <a:pPr marL="214313" indent="-214313"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3646885" algn="l"/>
              </a:tabLst>
            </a:pPr>
            <a:endParaRPr lang="en-US" sz="1650" dirty="0">
              <a:solidFill>
                <a:schemeClr val="bg1"/>
              </a:solidFill>
            </a:endParaRPr>
          </a:p>
          <a:p>
            <a:pPr marL="214313" indent="-214313"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3646885" algn="l"/>
              </a:tabLst>
            </a:pPr>
            <a:endParaRPr lang="en-US" sz="1650" dirty="0">
              <a:solidFill>
                <a:schemeClr val="bg1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4674683" y="2537433"/>
            <a:ext cx="5738634" cy="85408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marL="214313" indent="-214313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650" dirty="0">
                <a:solidFill>
                  <a:schemeClr val="bg1"/>
                </a:solidFill>
              </a:rPr>
              <a:t>Provides 10-100X faster Wi-Fi speeds </a:t>
            </a:r>
          </a:p>
          <a:p>
            <a:pPr marL="214313" indent="-214313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650" dirty="0">
                <a:solidFill>
                  <a:schemeClr val="bg1"/>
                </a:solidFill>
              </a:rPr>
              <a:t>Offers high speed connection with fewer drops </a:t>
            </a:r>
          </a:p>
          <a:p>
            <a:pPr marL="214313" indent="-214313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650" dirty="0">
                <a:solidFill>
                  <a:schemeClr val="bg1"/>
                </a:solidFill>
              </a:rPr>
              <a:t>Facilitates smoother and safer flights</a:t>
            </a:r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24610" y="5365803"/>
            <a:ext cx="1332791" cy="369812"/>
          </a:xfrm>
          <a:prstGeom prst="rect">
            <a:avLst/>
          </a:prstGeom>
        </p:spPr>
      </p:pic>
      <p:sp>
        <p:nvSpPr>
          <p:cNvPr id="20" name="TextBox 19"/>
          <p:cNvSpPr txBox="1"/>
          <p:nvPr/>
        </p:nvSpPr>
        <p:spPr>
          <a:xfrm>
            <a:off x="1403015" y="261018"/>
            <a:ext cx="84295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cap="all" spc="-15" dirty="0">
                <a:latin typeface="+mj-lt"/>
              </a:rPr>
              <a:t>The BENEFITS OF CONNECTED Aircraft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2462"/>
          <a:stretch/>
        </p:blipFill>
        <p:spPr>
          <a:xfrm>
            <a:off x="3586908" y="2530236"/>
            <a:ext cx="968442" cy="80543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2472"/>
          <a:stretch/>
        </p:blipFill>
        <p:spPr>
          <a:xfrm>
            <a:off x="3647420" y="1520861"/>
            <a:ext cx="895252" cy="87878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827"/>
          <a:stretch/>
        </p:blipFill>
        <p:spPr>
          <a:xfrm>
            <a:off x="3643994" y="3471995"/>
            <a:ext cx="853407" cy="85277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0751"/>
          <a:stretch/>
        </p:blipFill>
        <p:spPr>
          <a:xfrm>
            <a:off x="3647420" y="4530833"/>
            <a:ext cx="910492" cy="887504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1972019" y="1534368"/>
            <a:ext cx="168984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>
                <a:solidFill>
                  <a:schemeClr val="bg1"/>
                </a:solidFill>
              </a:rPr>
              <a:t>Fleet Management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1972020" y="2514801"/>
            <a:ext cx="156835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>
                <a:solidFill>
                  <a:schemeClr val="bg1"/>
                </a:solidFill>
              </a:rPr>
              <a:t>Passenger Experience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1972020" y="3476973"/>
            <a:ext cx="147974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>
                <a:solidFill>
                  <a:schemeClr val="bg1"/>
                </a:solidFill>
              </a:rPr>
              <a:t>Flight Operations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1524000" y="3255876"/>
            <a:ext cx="9144000" cy="346249"/>
          </a:xfrm>
          <a:prstGeom prst="rect">
            <a:avLst/>
          </a:prstGeom>
          <a:solidFill>
            <a:srgbClr val="000000">
              <a:alpha val="15000"/>
            </a:srgbClr>
          </a:solidFill>
          <a:ln w="12700"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 smtClean="0">
              <a:solidFill>
                <a:schemeClr val="accent3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1972020" y="4492332"/>
            <a:ext cx="156835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>
                <a:solidFill>
                  <a:schemeClr val="bg1"/>
                </a:solidFill>
              </a:rPr>
              <a:t>Ground Operations</a:t>
            </a:r>
            <a:endParaRPr lang="en-US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9885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0442" y="857250"/>
            <a:ext cx="9144000" cy="5143500"/>
          </a:xfrm>
          <a:prstGeom prst="rect">
            <a:avLst/>
          </a:prstGeom>
        </p:spPr>
      </p:pic>
      <p:sp>
        <p:nvSpPr>
          <p:cNvPr id="2" name="Oval 1"/>
          <p:cNvSpPr/>
          <p:nvPr/>
        </p:nvSpPr>
        <p:spPr>
          <a:xfrm>
            <a:off x="4530773" y="3185556"/>
            <a:ext cx="2960798" cy="486891"/>
          </a:xfrm>
          <a:prstGeom prst="ellipse">
            <a:avLst/>
          </a:prstGeom>
          <a:noFill/>
          <a:ln w="38100">
            <a:prstDash val="sysDot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 smtClean="0">
              <a:solidFill>
                <a:schemeClr val="accent3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0121559-6FAE-4C9F-95D5-751370D9C50E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10399" y="857251"/>
            <a:ext cx="1357603" cy="1357603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25635" y="5516377"/>
            <a:ext cx="1332791" cy="369812"/>
          </a:xfrm>
          <a:prstGeom prst="rect">
            <a:avLst/>
          </a:prstGeom>
        </p:spPr>
      </p:pic>
      <p:sp>
        <p:nvSpPr>
          <p:cNvPr id="20" name="TextBox 19"/>
          <p:cNvSpPr txBox="1"/>
          <p:nvPr/>
        </p:nvSpPr>
        <p:spPr>
          <a:xfrm>
            <a:off x="1929635" y="1263895"/>
            <a:ext cx="84295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cap="all" spc="-15" dirty="0">
                <a:solidFill>
                  <a:schemeClr val="bg2"/>
                </a:solidFill>
                <a:latin typeface="+mj-lt"/>
              </a:rPr>
              <a:t>The STAKEHOLDERS OF CONNECTED AIRCRAFT 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4798737" y="2996835"/>
            <a:ext cx="91718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Pilot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6204683" y="2912307"/>
            <a:ext cx="91718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Maintainer 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3996661" y="4021796"/>
            <a:ext cx="91718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Passenger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5523186" y="4791320"/>
            <a:ext cx="91718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CEO/CFO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6696356" y="4031250"/>
            <a:ext cx="169291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Flight Ops Manager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6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5245" y="3117044"/>
            <a:ext cx="728220" cy="808025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7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27461" y="3279496"/>
            <a:ext cx="728220" cy="799019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8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07321" y="1961248"/>
            <a:ext cx="702870" cy="967720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9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38991" y="1983910"/>
            <a:ext cx="696161" cy="860531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10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01292" y="3873786"/>
            <a:ext cx="781601" cy="917532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1873419" y="2144102"/>
            <a:ext cx="2657355" cy="9694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25" i="1" dirty="0">
                <a:solidFill>
                  <a:schemeClr val="bg1">
                    <a:lumMod val="95000"/>
                  </a:schemeClr>
                </a:solidFill>
              </a:rPr>
              <a:t>“If I can visualize the landing at a difficult airport, I can ensure a smooth landing for my passengers.”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1967097" y="3811958"/>
            <a:ext cx="1949564" cy="9694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25" i="1" dirty="0">
                <a:solidFill>
                  <a:schemeClr val="bg1">
                    <a:lumMod val="95000"/>
                  </a:schemeClr>
                </a:solidFill>
              </a:rPr>
              <a:t>“Why shouldn’t I get the same Wi-Fi speeds in-flight as I do at home?”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7323922" y="2144102"/>
            <a:ext cx="2998763" cy="9694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25" i="1" dirty="0">
                <a:solidFill>
                  <a:schemeClr val="bg1">
                    <a:lumMod val="95000"/>
                  </a:schemeClr>
                </a:solidFill>
              </a:rPr>
              <a:t>“If I knew what parts of the aircraft needed repair before the flight arrived, I could turn the aircraft around faster.”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8233043" y="3843726"/>
            <a:ext cx="2154711" cy="9694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25" i="1" dirty="0">
                <a:solidFill>
                  <a:schemeClr val="bg1">
                    <a:lumMod val="95000"/>
                  </a:schemeClr>
                </a:solidFill>
              </a:rPr>
              <a:t>“If I could see what weather the pilots are dealing with, I could better re-route the fleet.”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4028513" y="5079965"/>
            <a:ext cx="3965318" cy="750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25" i="1" dirty="0">
                <a:solidFill>
                  <a:schemeClr val="bg1">
                    <a:lumMod val="95000"/>
                  </a:schemeClr>
                </a:solidFill>
              </a:rPr>
              <a:t>“If my team could better utilize the data coming on and off the aircraft, I could avoid disruptions for my operations and save costs.” </a:t>
            </a:r>
          </a:p>
        </p:txBody>
      </p:sp>
    </p:spTree>
    <p:extLst>
      <p:ext uri="{BB962C8B-B14F-4D97-AF65-F5344CB8AC3E}">
        <p14:creationId xmlns:p14="http://schemas.microsoft.com/office/powerpoint/2010/main" val="20172130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000" y="857250"/>
            <a:ext cx="9144000" cy="5143500"/>
          </a:xfrm>
          <a:prstGeom prst="rect">
            <a:avLst/>
          </a:prstGeom>
        </p:spPr>
      </p:pic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0121559-6FAE-4C9F-95D5-751370D9C50E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10399" y="857251"/>
            <a:ext cx="1357603" cy="1357603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24610" y="5270553"/>
            <a:ext cx="1332791" cy="369812"/>
          </a:xfrm>
          <a:prstGeom prst="rect">
            <a:avLst/>
          </a:prstGeom>
        </p:spPr>
      </p:pic>
      <p:sp>
        <p:nvSpPr>
          <p:cNvPr id="18" name="TextBox 17"/>
          <p:cNvSpPr txBox="1"/>
          <p:nvPr/>
        </p:nvSpPr>
        <p:spPr>
          <a:xfrm>
            <a:off x="1929634" y="1168272"/>
            <a:ext cx="780744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cap="all" dirty="0">
                <a:solidFill>
                  <a:schemeClr val="bg2"/>
                </a:solidFill>
                <a:latin typeface="+mj-lt"/>
              </a:rPr>
              <a:t>Honeywell and the CONNECTED AIRCRAFT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1534478" y="1832858"/>
            <a:ext cx="9144000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500" spc="23" dirty="0">
                <a:solidFill>
                  <a:schemeClr val="bg1"/>
                </a:solidFill>
                <a:latin typeface="Arial Black" panose="020B0A04020102020204" pitchFamily="34" charset="0"/>
                <a:ea typeface="Adobe Gothic Std B" panose="020B0800000000000000" pitchFamily="34" charset="-128"/>
              </a:rPr>
              <a:t>TO CONNECT IT, YOU NEED TO KNOW IT</a:t>
            </a:r>
          </a:p>
          <a:p>
            <a:pPr algn="ctr"/>
            <a:r>
              <a:rPr lang="en-US" sz="1500" dirty="0"/>
              <a:t> </a:t>
            </a:r>
            <a:r>
              <a:rPr lang="en-US" sz="1500" spc="23" dirty="0">
                <a:solidFill>
                  <a:schemeClr val="bg1"/>
                </a:solidFill>
                <a:latin typeface="Arial Black" panose="020B0A04020102020204" pitchFamily="34" charset="0"/>
                <a:ea typeface="Adobe Gothic Std B" panose="020B0800000000000000" pitchFamily="34" charset="-128"/>
              </a:rPr>
              <a:t>130+ YEARS OF PROVEN AVIATION EXPERTISE, INNOVATION, MAINTENANCE</a:t>
            </a:r>
          </a:p>
          <a:p>
            <a:pPr algn="ctr"/>
            <a:endParaRPr lang="en-US" sz="1500" spc="23" dirty="0">
              <a:solidFill>
                <a:schemeClr val="bg1"/>
              </a:solidFill>
              <a:latin typeface="Arial Black" panose="020B0A04020102020204" pitchFamily="34" charset="0"/>
              <a:ea typeface="Adobe Gothic Std B" panose="020B0800000000000000" pitchFamily="34" charset="-128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8583" y="2802683"/>
            <a:ext cx="649838" cy="649838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3691" y="3518899"/>
            <a:ext cx="664730" cy="66473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42443" y="2786140"/>
            <a:ext cx="682927" cy="682927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>
          <a:xfrm>
            <a:off x="2016300" y="2862144"/>
            <a:ext cx="937874" cy="4962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25K</a:t>
            </a:r>
          </a:p>
          <a:p>
            <a:pPr algn="ctr"/>
            <a:r>
              <a:rPr lang="en-US" sz="825" b="1" dirty="0">
                <a:solidFill>
                  <a:schemeClr val="bg1"/>
                </a:solidFill>
              </a:rPr>
              <a:t>Engines 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668350" y="3508334"/>
            <a:ext cx="1633777" cy="750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20K </a:t>
            </a:r>
          </a:p>
          <a:p>
            <a:pPr algn="ctr"/>
            <a:r>
              <a:rPr lang="en-US" sz="825" b="1" dirty="0">
                <a:solidFill>
                  <a:schemeClr val="bg1"/>
                </a:solidFill>
              </a:rPr>
              <a:t>Flight Management </a:t>
            </a:r>
          </a:p>
          <a:p>
            <a:pPr algn="ctr"/>
            <a:r>
              <a:rPr lang="en-US" sz="825" b="1" dirty="0">
                <a:solidFill>
                  <a:schemeClr val="bg1"/>
                </a:solidFill>
              </a:rPr>
              <a:t>Systems</a:t>
            </a:r>
          </a:p>
          <a:p>
            <a:pPr algn="ctr"/>
            <a:endParaRPr lang="en-US" sz="825" b="1" dirty="0">
              <a:solidFill>
                <a:schemeClr val="bg1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4723329" y="2862144"/>
            <a:ext cx="1045479" cy="49629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b="1" dirty="0" smtClean="0">
                <a:solidFill>
                  <a:schemeClr val="bg1"/>
                </a:solidFill>
              </a:rPr>
              <a:t>20K</a:t>
            </a:r>
            <a:r>
              <a:rPr lang="en-US" b="1" dirty="0">
                <a:solidFill>
                  <a:schemeClr val="bg1"/>
                </a:solidFill>
              </a:rPr>
              <a:t> </a:t>
            </a:r>
          </a:p>
          <a:p>
            <a:pPr algn="ctr"/>
            <a:r>
              <a:rPr lang="en-US" sz="825" b="1" dirty="0">
                <a:solidFill>
                  <a:schemeClr val="bg1"/>
                </a:solidFill>
              </a:rPr>
              <a:t>Wheels &amp; Brakes</a:t>
            </a:r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45062" y="3519867"/>
            <a:ext cx="677689" cy="677689"/>
          </a:xfrm>
          <a:prstGeom prst="rect">
            <a:avLst/>
          </a:prstGeom>
        </p:spPr>
      </p:pic>
      <p:sp>
        <p:nvSpPr>
          <p:cNvPr id="16" name="Rectangle 15"/>
          <p:cNvSpPr/>
          <p:nvPr/>
        </p:nvSpPr>
        <p:spPr>
          <a:xfrm>
            <a:off x="4346329" y="3508333"/>
            <a:ext cx="1799476" cy="6232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300 </a:t>
            </a:r>
          </a:p>
          <a:p>
            <a:pPr algn="ctr"/>
            <a:r>
              <a:rPr lang="en-US" sz="825" b="1" dirty="0">
                <a:solidFill>
                  <a:schemeClr val="bg1"/>
                </a:solidFill>
              </a:rPr>
              <a:t>Services &amp; </a:t>
            </a:r>
          </a:p>
          <a:p>
            <a:pPr algn="ctr"/>
            <a:r>
              <a:rPr lang="en-US" sz="825" b="1" dirty="0">
                <a:solidFill>
                  <a:schemeClr val="bg1"/>
                </a:solidFill>
              </a:rPr>
              <a:t>Apps</a:t>
            </a:r>
          </a:p>
        </p:txBody>
      </p:sp>
      <p:sp>
        <p:nvSpPr>
          <p:cNvPr id="24" name="Rectangle 23"/>
          <p:cNvSpPr/>
          <p:nvPr/>
        </p:nvSpPr>
        <p:spPr>
          <a:xfrm>
            <a:off x="4694475" y="4333028"/>
            <a:ext cx="1103187" cy="49629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b="1" dirty="0" smtClean="0">
                <a:solidFill>
                  <a:schemeClr val="bg1"/>
                </a:solidFill>
              </a:rPr>
              <a:t>10K</a:t>
            </a:r>
            <a:r>
              <a:rPr lang="en-US" sz="1050" dirty="0" smtClean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en-US" sz="1050" dirty="0">
                <a:solidFill>
                  <a:schemeClr val="bg1">
                    <a:lumMod val="95000"/>
                  </a:schemeClr>
                </a:solidFill>
              </a:rPr>
              <a:t> </a:t>
            </a:r>
          </a:p>
          <a:p>
            <a:pPr algn="ctr"/>
            <a:r>
              <a:rPr lang="en-US" sz="825" b="1" dirty="0">
                <a:solidFill>
                  <a:schemeClr val="bg1"/>
                </a:solidFill>
              </a:rPr>
              <a:t>Satcom Hardware</a:t>
            </a:r>
          </a:p>
        </p:txBody>
      </p:sp>
      <p:sp>
        <p:nvSpPr>
          <p:cNvPr id="26" name="Rectangle 25"/>
          <p:cNvSpPr/>
          <p:nvPr/>
        </p:nvSpPr>
        <p:spPr>
          <a:xfrm>
            <a:off x="2162874" y="4333028"/>
            <a:ext cx="644728" cy="49629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30K</a:t>
            </a:r>
            <a:r>
              <a:rPr lang="en-US" sz="1050" dirty="0">
                <a:solidFill>
                  <a:schemeClr val="bg1">
                    <a:lumMod val="95000"/>
                  </a:schemeClr>
                </a:solidFill>
              </a:rPr>
              <a:t> </a:t>
            </a:r>
          </a:p>
          <a:p>
            <a:pPr algn="ctr"/>
            <a:r>
              <a:rPr lang="en-US" sz="825" b="1" dirty="0">
                <a:solidFill>
                  <a:schemeClr val="bg1"/>
                </a:solidFill>
              </a:rPr>
              <a:t>APUs</a:t>
            </a:r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83487" y="4006584"/>
            <a:ext cx="1200837" cy="1183805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4052" y="4007537"/>
            <a:ext cx="1198903" cy="1181898"/>
          </a:xfrm>
          <a:prstGeom prst="rect">
            <a:avLst/>
          </a:prstGeom>
        </p:spPr>
      </p:pic>
      <p:pic>
        <p:nvPicPr>
          <p:cNvPr id="20" name="Picture 2" descr="Related image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54043" y="2836417"/>
            <a:ext cx="1106979" cy="6420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18" descr="Related image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54043" y="4120096"/>
            <a:ext cx="1123946" cy="5887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Rectangle 22"/>
          <p:cNvSpPr/>
          <p:nvPr/>
        </p:nvSpPr>
        <p:spPr>
          <a:xfrm>
            <a:off x="7173813" y="2429340"/>
            <a:ext cx="147616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450"/>
              </a:spcBef>
            </a:pPr>
            <a:r>
              <a:rPr lang="en-US" b="1" dirty="0">
                <a:solidFill>
                  <a:schemeClr val="bg1"/>
                </a:solidFill>
              </a:rPr>
              <a:t>Partners</a:t>
            </a:r>
          </a:p>
        </p:txBody>
      </p:sp>
      <p:sp>
        <p:nvSpPr>
          <p:cNvPr id="4" name="Rectangle 3"/>
          <p:cNvSpPr/>
          <p:nvPr/>
        </p:nvSpPr>
        <p:spPr>
          <a:xfrm>
            <a:off x="2729036" y="4988599"/>
            <a:ext cx="6581362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ct val="30000"/>
              </a:spcBef>
              <a:defRPr/>
            </a:pPr>
            <a:r>
              <a:rPr lang="en-US" spc="23" dirty="0">
                <a:solidFill>
                  <a:schemeClr val="bg1"/>
                </a:solidFill>
                <a:latin typeface="Arial Black" panose="020B0A04020102020204" pitchFamily="34" charset="0"/>
                <a:ea typeface="Adobe Gothic Std B" panose="020B0800000000000000" pitchFamily="34" charset="-128"/>
              </a:rPr>
              <a:t>SECURE SENTIENCE</a:t>
            </a:r>
            <a:r>
              <a:rPr lang="en-US" spc="-23" dirty="0">
                <a:solidFill>
                  <a:schemeClr val="bg1"/>
                </a:solidFill>
                <a:ea typeface="Adobe Gothic Std B" panose="020B0800000000000000" pitchFamily="34" charset="-128"/>
              </a:rPr>
              <a:t>™</a:t>
            </a:r>
            <a:r>
              <a:rPr lang="en-US" spc="23" dirty="0">
                <a:solidFill>
                  <a:schemeClr val="bg1"/>
                </a:solidFill>
                <a:latin typeface="Arial Black" panose="020B0A04020102020204" pitchFamily="34" charset="0"/>
                <a:ea typeface="Adobe Gothic Std B" panose="020B0800000000000000" pitchFamily="34" charset="-128"/>
              </a:rPr>
              <a:t> DATA PLATFORM.  </a:t>
            </a:r>
          </a:p>
          <a:p>
            <a:pPr algn="ctr"/>
            <a:r>
              <a:rPr lang="en-US" spc="23" dirty="0">
                <a:solidFill>
                  <a:schemeClr val="bg1"/>
                </a:solidFill>
                <a:latin typeface="Arial Black" panose="020B0A04020102020204" pitchFamily="34" charset="0"/>
                <a:ea typeface="Adobe Gothic Std B" panose="020B0800000000000000" pitchFamily="34" charset="-128"/>
              </a:rPr>
              <a:t>10,000 INSTALLED SATCOM TERMINALS.  </a:t>
            </a:r>
          </a:p>
          <a:p>
            <a:pPr algn="ctr"/>
            <a:r>
              <a:rPr lang="en-US" spc="23" dirty="0">
                <a:solidFill>
                  <a:schemeClr val="bg1"/>
                </a:solidFill>
                <a:latin typeface="Arial Black" panose="020B0A04020102020204" pitchFamily="34" charset="0"/>
                <a:ea typeface="Adobe Gothic Std B" panose="020B0800000000000000" pitchFamily="34" charset="-128"/>
              </a:rPr>
              <a:t>WE PROVIDE WIFI.</a:t>
            </a:r>
          </a:p>
        </p:txBody>
      </p:sp>
      <p:sp>
        <p:nvSpPr>
          <p:cNvPr id="6" name="Rectangle 5"/>
          <p:cNvSpPr/>
          <p:nvPr/>
        </p:nvSpPr>
        <p:spPr>
          <a:xfrm>
            <a:off x="7893579" y="2731208"/>
            <a:ext cx="1960959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ct val="30000"/>
              </a:spcBef>
              <a:defRPr/>
            </a:pPr>
            <a:r>
              <a:rPr lang="en-US" spc="23" dirty="0">
                <a:solidFill>
                  <a:schemeClr val="bg1"/>
                </a:solidFill>
                <a:latin typeface="+mn-lt"/>
                <a:ea typeface="Adobe Gothic Std B" panose="020B0800000000000000" pitchFamily="34" charset="-128"/>
              </a:rPr>
              <a:t>First Global High-Speed Broadband Network.</a:t>
            </a:r>
          </a:p>
        </p:txBody>
      </p:sp>
      <p:sp>
        <p:nvSpPr>
          <p:cNvPr id="7" name="Rectangle 6"/>
          <p:cNvSpPr/>
          <p:nvPr/>
        </p:nvSpPr>
        <p:spPr>
          <a:xfrm>
            <a:off x="7871008" y="4020358"/>
            <a:ext cx="1726403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ct val="30000"/>
              </a:spcBef>
              <a:defRPr/>
            </a:pPr>
            <a:r>
              <a:rPr lang="en-US" spc="23" dirty="0">
                <a:solidFill>
                  <a:schemeClr val="bg1"/>
                </a:solidFill>
                <a:ea typeface="Adobe Gothic Std B" panose="020B0800000000000000" pitchFamily="34" charset="-128"/>
              </a:rPr>
              <a:t>Pole to Pole Reliable Coverage</a:t>
            </a:r>
          </a:p>
        </p:txBody>
      </p:sp>
      <p:sp>
        <p:nvSpPr>
          <p:cNvPr id="29" name="Rectangle 28"/>
          <p:cNvSpPr/>
          <p:nvPr/>
        </p:nvSpPr>
        <p:spPr>
          <a:xfrm>
            <a:off x="3087349" y="2429340"/>
            <a:ext cx="147616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450"/>
              </a:spcBef>
            </a:pPr>
            <a:r>
              <a:rPr lang="en-US" b="1" dirty="0">
                <a:solidFill>
                  <a:schemeClr val="bg1"/>
                </a:solidFill>
              </a:rPr>
              <a:t>Install Base</a:t>
            </a:r>
          </a:p>
        </p:txBody>
      </p:sp>
    </p:spTree>
    <p:extLst>
      <p:ext uri="{BB962C8B-B14F-4D97-AF65-F5344CB8AC3E}">
        <p14:creationId xmlns:p14="http://schemas.microsoft.com/office/powerpoint/2010/main" val="31060239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1524000" y="3241114"/>
            <a:ext cx="9144000" cy="369332"/>
          </a:xfrm>
          <a:prstGeom prst="rect">
            <a:avLst/>
          </a:prstGeom>
          <a:solidFill>
            <a:schemeClr val="lt1">
              <a:alpha val="70000"/>
            </a:schemeClr>
          </a:solidFill>
          <a:ln w="12700"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 smtClean="0">
              <a:solidFill>
                <a:schemeClr val="accent3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What Is A Smart Connected Building?</a:t>
            </a:r>
            <a:endParaRPr lang="en-US" dirty="0"/>
          </a:p>
        </p:txBody>
      </p:sp>
      <p:sp>
        <p:nvSpPr>
          <p:cNvPr id="25" name="Title 75"/>
          <p:cNvSpPr txBox="1">
            <a:spLocks/>
          </p:cNvSpPr>
          <p:nvPr/>
        </p:nvSpPr>
        <p:spPr>
          <a:xfrm>
            <a:off x="2037433" y="256033"/>
            <a:ext cx="7997825" cy="468312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  <a:defRPr/>
            </a:pPr>
            <a:endParaRPr lang="en-US" sz="2400" b="1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9" name="Text Placeholder 7"/>
          <p:cNvSpPr txBox="1">
            <a:spLocks/>
          </p:cNvSpPr>
          <p:nvPr/>
        </p:nvSpPr>
        <p:spPr>
          <a:xfrm>
            <a:off x="2875528" y="1802475"/>
            <a:ext cx="7159727" cy="697997"/>
          </a:xfrm>
          <a:prstGeom prst="rect">
            <a:avLst/>
          </a:prstGeom>
        </p:spPr>
        <p:txBody>
          <a:bodyPr>
            <a:normAutofit fontScale="92500" lnSpcReduction="10000"/>
          </a:bodyPr>
          <a:lstStyle>
            <a:lvl1pPr marL="169863" indent="-169863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2000" kern="120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1pPr>
            <a:lvl2pPr marL="457200" indent="-169863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charset="0"/>
              <a:buChar char="-"/>
              <a:defRPr kern="120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2pPr>
            <a:lvl3pPr marL="804863" indent="-1778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90000"/>
              <a:buFont typeface="Wingdings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3pPr>
            <a:lvl4pPr marL="1201738" indent="-168275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Tx/>
              <a:buChar char="-"/>
              <a:defRPr sz="1400" kern="1200">
                <a:solidFill>
                  <a:schemeClr val="tx1"/>
                </a:solidFill>
                <a:latin typeface="Helvetica Neue"/>
                <a:ea typeface="Helvetica Neue"/>
                <a:cs typeface="Helvetica Neue"/>
              </a:defRPr>
            </a:lvl4pPr>
            <a:lvl5pPr marL="1719263" indent="-1778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charset="0"/>
              <a:buChar char="»"/>
              <a:defRPr sz="1400" kern="1200">
                <a:solidFill>
                  <a:schemeClr val="tx1"/>
                </a:solidFill>
                <a:latin typeface="Helvetica Neue"/>
                <a:ea typeface="Helvetica Neue"/>
                <a:cs typeface="Helvetica Neue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ca-ES" b="1" dirty="0">
                <a:solidFill>
                  <a:srgbClr val="669900"/>
                </a:solidFill>
              </a:rPr>
              <a:t>Green</a:t>
            </a:r>
            <a:r>
              <a:rPr lang="ca-ES" dirty="0"/>
              <a:t> Economic and environmental benefits. </a:t>
            </a:r>
          </a:p>
          <a:p>
            <a:pPr marL="0" indent="0">
              <a:buNone/>
            </a:pPr>
            <a:r>
              <a:rPr lang="ca-ES" dirty="0"/>
              <a:t>Achieves sustainable energy efficiency throughout its lifetime</a:t>
            </a:r>
            <a:r>
              <a:rPr lang="ca-ES" dirty="0" smtClean="0"/>
              <a:t>.</a:t>
            </a:r>
            <a:endParaRPr lang="ca-ES" dirty="0"/>
          </a:p>
          <a:p>
            <a:pPr marL="0" indent="0">
              <a:buNone/>
            </a:pPr>
            <a:endParaRPr lang="ca-ES" dirty="0"/>
          </a:p>
          <a:p>
            <a:pPr marL="0" indent="0">
              <a:buNone/>
            </a:pPr>
            <a:endParaRPr lang="ca-ES" dirty="0"/>
          </a:p>
        </p:txBody>
      </p:sp>
      <p:sp>
        <p:nvSpPr>
          <p:cNvPr id="30" name="Text Placeholder 7"/>
          <p:cNvSpPr txBox="1">
            <a:spLocks/>
          </p:cNvSpPr>
          <p:nvPr/>
        </p:nvSpPr>
        <p:spPr>
          <a:xfrm>
            <a:off x="2875528" y="4244875"/>
            <a:ext cx="7159727" cy="697997"/>
          </a:xfrm>
          <a:prstGeom prst="rect">
            <a:avLst/>
          </a:prstGeom>
        </p:spPr>
        <p:txBody>
          <a:bodyPr>
            <a:noAutofit/>
          </a:bodyPr>
          <a:lstStyle>
            <a:lvl1pPr marL="169863" indent="-169863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2000" kern="120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1pPr>
            <a:lvl2pPr marL="457200" indent="-169863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charset="0"/>
              <a:buChar char="-"/>
              <a:defRPr kern="120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2pPr>
            <a:lvl3pPr marL="804863" indent="-1778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90000"/>
              <a:buFont typeface="Wingdings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3pPr>
            <a:lvl4pPr marL="1201738" indent="-168275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Tx/>
              <a:buChar char="-"/>
              <a:defRPr sz="1400" kern="1200">
                <a:solidFill>
                  <a:schemeClr val="tx1"/>
                </a:solidFill>
                <a:latin typeface="Helvetica Neue"/>
                <a:ea typeface="Helvetica Neue"/>
                <a:cs typeface="Helvetica Neue"/>
              </a:defRPr>
            </a:lvl4pPr>
            <a:lvl5pPr marL="1719263" indent="-1778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charset="0"/>
              <a:buChar char="»"/>
              <a:defRPr sz="1400" kern="1200">
                <a:solidFill>
                  <a:schemeClr val="tx1"/>
                </a:solidFill>
                <a:latin typeface="Helvetica Neue"/>
                <a:ea typeface="Helvetica Neue"/>
                <a:cs typeface="Helvetica Neue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ca-ES" b="1" dirty="0">
                <a:solidFill>
                  <a:srgbClr val="CC6600"/>
                </a:solidFill>
              </a:rPr>
              <a:t>Safe </a:t>
            </a:r>
            <a:r>
              <a:rPr lang="ca-ES" dirty="0"/>
              <a:t>The value of human life and property is critical and should be given the highest priority in any building</a:t>
            </a:r>
          </a:p>
        </p:txBody>
      </p:sp>
      <p:sp>
        <p:nvSpPr>
          <p:cNvPr id="31" name="Text Placeholder 7"/>
          <p:cNvSpPr txBox="1">
            <a:spLocks/>
          </p:cNvSpPr>
          <p:nvPr/>
        </p:nvSpPr>
        <p:spPr>
          <a:xfrm>
            <a:off x="2875531" y="3023675"/>
            <a:ext cx="7159727" cy="697997"/>
          </a:xfrm>
          <a:prstGeom prst="rect">
            <a:avLst/>
          </a:prstGeom>
        </p:spPr>
        <p:txBody>
          <a:bodyPr>
            <a:noAutofit/>
          </a:bodyPr>
          <a:lstStyle>
            <a:lvl1pPr marL="169863" indent="-169863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2000" kern="120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1pPr>
            <a:lvl2pPr marL="457200" indent="-169863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charset="0"/>
              <a:buChar char="-"/>
              <a:defRPr kern="120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2pPr>
            <a:lvl3pPr marL="804863" indent="-1778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90000"/>
              <a:buFont typeface="Wingdings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3pPr>
            <a:lvl4pPr marL="1201738" indent="-168275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Tx/>
              <a:buChar char="-"/>
              <a:defRPr sz="1400" kern="1200">
                <a:solidFill>
                  <a:schemeClr val="tx1"/>
                </a:solidFill>
                <a:latin typeface="Helvetica Neue"/>
                <a:ea typeface="Helvetica Neue"/>
                <a:cs typeface="Helvetica Neue"/>
              </a:defRPr>
            </a:lvl4pPr>
            <a:lvl5pPr marL="1719263" indent="-1778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charset="0"/>
              <a:buChar char="»"/>
              <a:defRPr sz="1400" kern="1200">
                <a:solidFill>
                  <a:schemeClr val="tx1"/>
                </a:solidFill>
                <a:latin typeface="Helvetica Neue"/>
                <a:ea typeface="Helvetica Neue"/>
                <a:cs typeface="Helvetica Neue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ca-ES" b="1" dirty="0">
                <a:solidFill>
                  <a:srgbClr val="336699"/>
                </a:solidFill>
              </a:rPr>
              <a:t>Productive</a:t>
            </a:r>
            <a:r>
              <a:rPr lang="ca-ES" dirty="0">
                <a:solidFill>
                  <a:srgbClr val="336699"/>
                </a:solidFill>
              </a:rPr>
              <a:t> </a:t>
            </a:r>
            <a:r>
              <a:rPr lang="ca-ES" dirty="0"/>
              <a:t>Major trends: connecitivity and big data.</a:t>
            </a:r>
          </a:p>
          <a:p>
            <a:pPr marL="0" indent="0">
              <a:buNone/>
            </a:pPr>
            <a:r>
              <a:rPr lang="ca-ES" dirty="0"/>
              <a:t>Provides the highest-possible level of asset utilization.</a:t>
            </a:r>
          </a:p>
          <a:p>
            <a:pPr marL="0" indent="0">
              <a:buNone/>
            </a:pPr>
            <a:endParaRPr lang="ca-ES" dirty="0"/>
          </a:p>
        </p:txBody>
      </p:sp>
      <p:pic>
        <p:nvPicPr>
          <p:cNvPr id="32" name="icons"/>
          <p:cNvPicPr>
            <a:picLocks noChangeAspect="1"/>
          </p:cNvPicPr>
          <p:nvPr/>
        </p:nvPicPr>
        <p:blipFill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7432" y="1802474"/>
            <a:ext cx="699476" cy="918640"/>
          </a:xfrm>
          <a:prstGeom prst="rect">
            <a:avLst/>
          </a:prstGeom>
        </p:spPr>
      </p:pic>
      <p:pic>
        <p:nvPicPr>
          <p:cNvPr id="33" name="icons"/>
          <p:cNvPicPr>
            <a:picLocks noChangeAspect="1"/>
          </p:cNvPicPr>
          <p:nvPr/>
        </p:nvPicPr>
        <p:blipFill>
          <a:blip r:embed="rId4" cstate="screen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7434" y="3020685"/>
            <a:ext cx="699476" cy="915505"/>
          </a:xfrm>
          <a:prstGeom prst="rect">
            <a:avLst/>
          </a:prstGeom>
        </p:spPr>
      </p:pic>
      <p:pic>
        <p:nvPicPr>
          <p:cNvPr id="34" name="icons"/>
          <p:cNvPicPr>
            <a:picLocks noChangeAspect="1"/>
          </p:cNvPicPr>
          <p:nvPr/>
        </p:nvPicPr>
        <p:blipFill>
          <a:blip r:embed="rId6" cstate="screen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7431" y="4244874"/>
            <a:ext cx="699475" cy="918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4756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2078" y="1048350"/>
            <a:ext cx="7882166" cy="4952116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902078" y="6193152"/>
            <a:ext cx="196812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CA" sz="1200" dirty="0"/>
              <a:t>*</a:t>
            </a:r>
            <a:r>
              <a:rPr lang="fr-CA" sz="1200" dirty="0" err="1"/>
              <a:t>McGraw</a:t>
            </a:r>
            <a:r>
              <a:rPr lang="fr-CA" sz="1200" dirty="0"/>
              <a:t> Hill Institute</a:t>
            </a:r>
            <a:endParaRPr lang="en-US" sz="1200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Why a Connected Building?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033895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kern="0" smtClean="0">
                <a:solidFill>
                  <a:srgbClr val="000000"/>
                </a:solidFill>
                <a:latin typeface="Arial"/>
              </a:rPr>
              <a:t>Connectivity For Buildings &amp; People</a:t>
            </a:r>
            <a:br>
              <a:rPr lang="en-US" kern="0" smtClean="0">
                <a:solidFill>
                  <a:srgbClr val="000000"/>
                </a:solidFill>
                <a:latin typeface="Arial"/>
              </a:rPr>
            </a:br>
            <a:endParaRPr lang="en-US" dirty="0"/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 rotWithShape="1"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349" r="5080"/>
          <a:stretch/>
        </p:blipFill>
        <p:spPr>
          <a:xfrm>
            <a:off x="1837224" y="1104657"/>
            <a:ext cx="8219015" cy="4924473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50260" y="5436472"/>
            <a:ext cx="1661374" cy="425003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"/>
          <a:stretch/>
        </p:blipFill>
        <p:spPr>
          <a:xfrm>
            <a:off x="1751949" y="2983498"/>
            <a:ext cx="1291759" cy="473631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11921" y="1493950"/>
            <a:ext cx="2009105" cy="476518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01406" y="3178643"/>
            <a:ext cx="1532586" cy="399245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43708" y="1409689"/>
            <a:ext cx="1476375" cy="485775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793338" y="5237509"/>
            <a:ext cx="1876425" cy="66675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99797" y="3926543"/>
            <a:ext cx="1311834" cy="45076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91348" y="3771567"/>
            <a:ext cx="1070992" cy="646694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46231" y="2144456"/>
            <a:ext cx="1293321" cy="476518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207386" y="1027852"/>
            <a:ext cx="1609725" cy="619125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42356" y="4673210"/>
            <a:ext cx="1369890" cy="491344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950843" y="2355614"/>
            <a:ext cx="1394273" cy="437882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8511532" y="4840512"/>
            <a:ext cx="1209675" cy="457200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 rotWithShape="1"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920104" y="5237509"/>
            <a:ext cx="1688676" cy="486514"/>
          </a:xfrm>
          <a:prstGeom prst="rect">
            <a:avLst/>
          </a:prstGeom>
        </p:spPr>
      </p:pic>
      <p:pic>
        <p:nvPicPr>
          <p:cNvPr id="20" name="icons"/>
          <p:cNvPicPr>
            <a:picLocks noChangeAspect="1"/>
          </p:cNvPicPr>
          <p:nvPr/>
        </p:nvPicPr>
        <p:blipFill>
          <a:blip r:embed="rId17" cstate="screen">
            <a:extLst>
              <a:ext uri="{BEBA8EAE-BF5A-486C-A8C5-ECC9F3942E4B}">
                <a14:imgProps xmlns:a14="http://schemas.microsoft.com/office/drawing/2010/main">
                  <a14:imgLayer r:embed="rId18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49421" y="5887969"/>
            <a:ext cx="699476" cy="918640"/>
          </a:xfrm>
          <a:prstGeom prst="rect">
            <a:avLst/>
          </a:prstGeom>
        </p:spPr>
      </p:pic>
      <p:pic>
        <p:nvPicPr>
          <p:cNvPr id="21" name="icons"/>
          <p:cNvPicPr>
            <a:picLocks noChangeAspect="1"/>
          </p:cNvPicPr>
          <p:nvPr/>
        </p:nvPicPr>
        <p:blipFill>
          <a:blip r:embed="rId19" cstate="screen">
            <a:extLst>
              <a:ext uri="{BEBA8EAE-BF5A-486C-A8C5-ECC9F3942E4B}">
                <a14:imgProps xmlns:a14="http://schemas.microsoft.com/office/drawing/2010/main">
                  <a14:imgLayer r:embed="rId20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43929" y="5891105"/>
            <a:ext cx="699476" cy="915505"/>
          </a:xfrm>
          <a:prstGeom prst="rect">
            <a:avLst/>
          </a:prstGeom>
        </p:spPr>
      </p:pic>
      <p:pic>
        <p:nvPicPr>
          <p:cNvPr id="22" name="icons"/>
          <p:cNvPicPr>
            <a:picLocks noChangeAspect="1"/>
          </p:cNvPicPr>
          <p:nvPr/>
        </p:nvPicPr>
        <p:blipFill>
          <a:blip r:embed="rId21" cstate="screen">
            <a:extLst>
              <a:ext uri="{BEBA8EAE-BF5A-486C-A8C5-ECC9F3942E4B}">
                <a14:imgProps xmlns:a14="http://schemas.microsoft.com/office/drawing/2010/main">
                  <a14:imgLayer r:embed="rId22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16889" y="5891104"/>
            <a:ext cx="699475" cy="918640"/>
          </a:xfrm>
          <a:prstGeom prst="rect">
            <a:avLst/>
          </a:prstGeom>
        </p:spPr>
      </p:pic>
      <p:sp>
        <p:nvSpPr>
          <p:cNvPr id="23" name="Oval 22"/>
          <p:cNvSpPr/>
          <p:nvPr/>
        </p:nvSpPr>
        <p:spPr>
          <a:xfrm>
            <a:off x="2399763" y="1219268"/>
            <a:ext cx="7431110" cy="4527594"/>
          </a:xfrm>
          <a:prstGeom prst="ellipse">
            <a:avLst/>
          </a:prstGeom>
          <a:noFill/>
          <a:ln w="44450" cmpd="sng">
            <a:solidFill>
              <a:schemeClr val="bg1">
                <a:lumMod val="65000"/>
                <a:alpha val="18000"/>
              </a:schemeClr>
            </a:solidFill>
            <a:prstDash val="sys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itle 75"/>
          <p:cNvSpPr txBox="1">
            <a:spLocks/>
          </p:cNvSpPr>
          <p:nvPr/>
        </p:nvSpPr>
        <p:spPr>
          <a:xfrm>
            <a:off x="2037433" y="256033"/>
            <a:ext cx="7997825" cy="468312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  <a:defRPr/>
            </a:pPr>
            <a:endParaRPr lang="en-US" sz="2400" b="1" kern="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3837087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kern="0" dirty="0">
                <a:solidFill>
                  <a:srgbClr val="000000"/>
                </a:solidFill>
                <a:latin typeface="Arial"/>
              </a:rPr>
              <a:t>Advanced Command </a:t>
            </a:r>
            <a:r>
              <a:rPr lang="en-US" kern="0" dirty="0" smtClean="0">
                <a:solidFill>
                  <a:srgbClr val="000000"/>
                </a:solidFill>
                <a:latin typeface="Arial"/>
              </a:rPr>
              <a:t>&amp; </a:t>
            </a:r>
            <a:r>
              <a:rPr lang="en-US" kern="0" dirty="0">
                <a:solidFill>
                  <a:srgbClr val="000000"/>
                </a:solidFill>
                <a:latin typeface="Arial"/>
              </a:rPr>
              <a:t>Control interface</a:t>
            </a:r>
            <a:br>
              <a:rPr lang="en-US" kern="0" dirty="0">
                <a:solidFill>
                  <a:srgbClr val="000000"/>
                </a:solidFill>
                <a:latin typeface="Arial"/>
              </a:rPr>
            </a:br>
            <a:endParaRPr lang="en-US" dirty="0"/>
          </a:p>
        </p:txBody>
      </p:sp>
      <p:pic>
        <p:nvPicPr>
          <p:cNvPr id="2" name="Picture 1" descr="12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800100" y="1071120"/>
            <a:ext cx="9144000" cy="5390584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3" name="Title 75"/>
          <p:cNvSpPr txBox="1">
            <a:spLocks/>
          </p:cNvSpPr>
          <p:nvPr/>
        </p:nvSpPr>
        <p:spPr>
          <a:xfrm>
            <a:off x="2037433" y="256033"/>
            <a:ext cx="7997825" cy="468312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  <a:defRPr/>
            </a:pPr>
            <a:endParaRPr lang="en-US" sz="2400" b="1" kern="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9757058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kern="0" dirty="0" smtClean="0">
                <a:solidFill>
                  <a:srgbClr val="000000"/>
                </a:solidFill>
                <a:latin typeface="Arial"/>
              </a:rPr>
              <a:t>Incident Management &amp; Traceability</a:t>
            </a:r>
            <a:br>
              <a:rPr lang="en-US" kern="0" dirty="0" smtClean="0">
                <a:solidFill>
                  <a:srgbClr val="000000"/>
                </a:solidFill>
                <a:latin typeface="Arial"/>
              </a:rPr>
            </a:br>
            <a:endParaRPr lang="en-US" dirty="0"/>
          </a:p>
        </p:txBody>
      </p:sp>
      <p:sp>
        <p:nvSpPr>
          <p:cNvPr id="5" name="Title 75"/>
          <p:cNvSpPr txBox="1">
            <a:spLocks/>
          </p:cNvSpPr>
          <p:nvPr/>
        </p:nvSpPr>
        <p:spPr>
          <a:xfrm>
            <a:off x="2037432" y="256033"/>
            <a:ext cx="8279586" cy="468312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  <a:defRPr/>
            </a:pPr>
            <a:endParaRPr lang="en-US" sz="2400" b="1" kern="0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41" t="1167" b="1"/>
          <a:stretch/>
        </p:blipFill>
        <p:spPr>
          <a:xfrm>
            <a:off x="842211" y="1130968"/>
            <a:ext cx="9282771" cy="5193632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420613283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dirty="0" err="1" smtClean="0"/>
              <a:t>Stay</a:t>
            </a:r>
            <a:r>
              <a:rPr lang="fr-CA" dirty="0" smtClean="0"/>
              <a:t> </a:t>
            </a:r>
            <a:r>
              <a:rPr lang="fr-CA" dirty="0" err="1" smtClean="0"/>
              <a:t>Connected</a:t>
            </a:r>
            <a:r>
              <a:rPr lang="fr-CA" dirty="0" smtClean="0"/>
              <a:t> at all times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21D1E3F-96BE-4EC6-B772-60D92C1E53EA}" type="slidenum">
              <a:rPr lang="en-US" smtClean="0"/>
              <a:pPr/>
              <a:t>18</a:t>
            </a:fld>
            <a:endParaRPr lang="en-US" dirty="0"/>
          </a:p>
        </p:txBody>
      </p:sp>
      <p:sp>
        <p:nvSpPr>
          <p:cNvPr id="4" name="Block Arc 3"/>
          <p:cNvSpPr/>
          <p:nvPr/>
        </p:nvSpPr>
        <p:spPr>
          <a:xfrm>
            <a:off x="-1358194" y="1275457"/>
            <a:ext cx="5240380" cy="5101202"/>
          </a:xfrm>
          <a:prstGeom prst="blockArc">
            <a:avLst>
              <a:gd name="adj1" fmla="val 16871794"/>
              <a:gd name="adj2" fmla="val 4338152"/>
              <a:gd name="adj3" fmla="val 0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grpSp>
        <p:nvGrpSpPr>
          <p:cNvPr id="12" name="Group 11"/>
          <p:cNvGrpSpPr/>
          <p:nvPr/>
        </p:nvGrpSpPr>
        <p:grpSpPr>
          <a:xfrm>
            <a:off x="511931" y="2767166"/>
            <a:ext cx="2056273" cy="2056272"/>
            <a:chOff x="641899" y="1765545"/>
            <a:chExt cx="1354992" cy="1354992"/>
          </a:xfrm>
        </p:grpSpPr>
        <p:sp>
          <p:nvSpPr>
            <p:cNvPr id="13" name="Oval 12"/>
            <p:cNvSpPr/>
            <p:nvPr/>
          </p:nvSpPr>
          <p:spPr>
            <a:xfrm>
              <a:off x="641899" y="1765545"/>
              <a:ext cx="1354992" cy="1354992"/>
            </a:xfrm>
            <a:prstGeom prst="ellipse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alpha val="8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3">
                <a:alpha val="8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4" name="Oval 4"/>
            <p:cNvSpPr/>
            <p:nvPr/>
          </p:nvSpPr>
          <p:spPr>
            <a:xfrm>
              <a:off x="840333" y="1963979"/>
              <a:ext cx="958124" cy="95812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1275" tIns="41275" rIns="41275" bIns="41275" numCol="1" spcCol="1270" anchor="ctr" anchorCtr="0">
              <a:noAutofit/>
            </a:bodyPr>
            <a:lstStyle/>
            <a:p>
              <a:pPr lvl="0" algn="ctr" defTabSz="2889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sz="6500" kern="1200" dirty="0"/>
            </a:p>
          </p:txBody>
        </p:sp>
      </p:grpSp>
      <p:grpSp>
        <p:nvGrpSpPr>
          <p:cNvPr id="30" name="Group 29"/>
          <p:cNvGrpSpPr/>
          <p:nvPr/>
        </p:nvGrpSpPr>
        <p:grpSpPr>
          <a:xfrm>
            <a:off x="1175515" y="968164"/>
            <a:ext cx="1130596" cy="1130595"/>
            <a:chOff x="9135920" y="89221"/>
            <a:chExt cx="1283368" cy="1283368"/>
          </a:xfrm>
        </p:grpSpPr>
        <p:sp>
          <p:nvSpPr>
            <p:cNvPr id="17" name="Oval 16"/>
            <p:cNvSpPr/>
            <p:nvPr/>
          </p:nvSpPr>
          <p:spPr>
            <a:xfrm>
              <a:off x="9135920" y="89221"/>
              <a:ext cx="1283368" cy="1283368"/>
            </a:xfrm>
            <a:prstGeom prst="ellipse">
              <a:avLst/>
            </a:prstGeom>
            <a:solidFill>
              <a:schemeClr val="accent3">
                <a:hueOff val="0"/>
                <a:satOff val="0"/>
                <a:lumOff val="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alpha val="90000"/>
                <a:hueOff val="0"/>
                <a:satOff val="0"/>
                <a:lumOff val="0"/>
                <a:alphaOff val="-32000"/>
              </a:schemeClr>
            </a:fillRef>
            <a:effectRef idx="0">
              <a:schemeClr val="accent3">
                <a:alpha val="90000"/>
                <a:hueOff val="0"/>
                <a:satOff val="0"/>
                <a:lumOff val="0"/>
                <a:alphaOff val="-32000"/>
              </a:schemeClr>
            </a:effectRef>
            <a:fontRef idx="minor">
              <a:schemeClr val="lt1"/>
            </a:fontRef>
          </p:style>
        </p:sp>
        <p:sp>
          <p:nvSpPr>
            <p:cNvPr id="18" name="Oval 4"/>
            <p:cNvSpPr/>
            <p:nvPr/>
          </p:nvSpPr>
          <p:spPr>
            <a:xfrm>
              <a:off x="9323865" y="338968"/>
              <a:ext cx="907478" cy="90747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lvl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000" b="1" kern="1200" dirty="0"/>
                <a:t>Real-time diagnostics and trouble-shooting</a:t>
              </a:r>
            </a:p>
          </p:txBody>
        </p:sp>
      </p:grpSp>
      <p:grpSp>
        <p:nvGrpSpPr>
          <p:cNvPr id="31" name="Group 30"/>
          <p:cNvGrpSpPr/>
          <p:nvPr/>
        </p:nvGrpSpPr>
        <p:grpSpPr>
          <a:xfrm>
            <a:off x="1194350" y="5570575"/>
            <a:ext cx="1130596" cy="1130595"/>
            <a:chOff x="9135920" y="151023"/>
            <a:chExt cx="1283368" cy="1283368"/>
          </a:xfrm>
        </p:grpSpPr>
        <p:sp>
          <p:nvSpPr>
            <p:cNvPr id="32" name="Oval 31"/>
            <p:cNvSpPr/>
            <p:nvPr/>
          </p:nvSpPr>
          <p:spPr>
            <a:xfrm>
              <a:off x="9135920" y="151023"/>
              <a:ext cx="1283368" cy="1283368"/>
            </a:xfrm>
            <a:prstGeom prst="ellipse">
              <a:avLst/>
            </a:prstGeom>
            <a:solidFill>
              <a:schemeClr val="accent3">
                <a:hueOff val="0"/>
                <a:satOff val="0"/>
                <a:lumOff val="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alpha val="90000"/>
                <a:hueOff val="0"/>
                <a:satOff val="0"/>
                <a:lumOff val="0"/>
                <a:alphaOff val="-32000"/>
              </a:schemeClr>
            </a:fillRef>
            <a:effectRef idx="0">
              <a:schemeClr val="accent3">
                <a:alpha val="90000"/>
                <a:hueOff val="0"/>
                <a:satOff val="0"/>
                <a:lumOff val="0"/>
                <a:alphaOff val="-32000"/>
              </a:schemeClr>
            </a:effectRef>
            <a:fontRef idx="minor">
              <a:schemeClr val="lt1"/>
            </a:fontRef>
          </p:style>
        </p:sp>
        <p:sp>
          <p:nvSpPr>
            <p:cNvPr id="33" name="Oval 4"/>
            <p:cNvSpPr/>
            <p:nvPr/>
          </p:nvSpPr>
          <p:spPr>
            <a:xfrm>
              <a:off x="9323865" y="338968"/>
              <a:ext cx="907478" cy="90747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lvl="0" algn="ctr" defTabSz="533400">
                <a:lnSpc>
                  <a:spcPct val="90000"/>
                </a:lnSpc>
                <a:spcAft>
                  <a:spcPct val="35000"/>
                </a:spcAft>
              </a:pPr>
              <a:r>
                <a:rPr lang="en-US" sz="1000" b="1" dirty="0"/>
                <a:t>Act Immediately</a:t>
              </a:r>
            </a:p>
          </p:txBody>
        </p:sp>
      </p:grpSp>
      <p:grpSp>
        <p:nvGrpSpPr>
          <p:cNvPr id="34" name="Group 33"/>
          <p:cNvGrpSpPr/>
          <p:nvPr/>
        </p:nvGrpSpPr>
        <p:grpSpPr>
          <a:xfrm>
            <a:off x="2431113" y="5054335"/>
            <a:ext cx="1130596" cy="1130595"/>
            <a:chOff x="9135920" y="151023"/>
            <a:chExt cx="1283368" cy="1283368"/>
          </a:xfrm>
        </p:grpSpPr>
        <p:sp>
          <p:nvSpPr>
            <p:cNvPr id="35" name="Oval 34"/>
            <p:cNvSpPr/>
            <p:nvPr/>
          </p:nvSpPr>
          <p:spPr>
            <a:xfrm>
              <a:off x="9135920" y="151023"/>
              <a:ext cx="1283368" cy="1283368"/>
            </a:xfrm>
            <a:prstGeom prst="ellipse">
              <a:avLst/>
            </a:prstGeom>
            <a:solidFill>
              <a:schemeClr val="accent3">
                <a:hueOff val="0"/>
                <a:satOff val="0"/>
                <a:lumOff val="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alpha val="90000"/>
                <a:hueOff val="0"/>
                <a:satOff val="0"/>
                <a:lumOff val="0"/>
                <a:alphaOff val="-32000"/>
              </a:schemeClr>
            </a:fillRef>
            <a:effectRef idx="0">
              <a:schemeClr val="accent3">
                <a:alpha val="90000"/>
                <a:hueOff val="0"/>
                <a:satOff val="0"/>
                <a:lumOff val="0"/>
                <a:alphaOff val="-32000"/>
              </a:schemeClr>
            </a:effectRef>
            <a:fontRef idx="minor">
              <a:schemeClr val="lt1"/>
            </a:fontRef>
          </p:style>
        </p:sp>
        <p:sp>
          <p:nvSpPr>
            <p:cNvPr id="36" name="Oval 4"/>
            <p:cNvSpPr/>
            <p:nvPr/>
          </p:nvSpPr>
          <p:spPr>
            <a:xfrm>
              <a:off x="9323865" y="338968"/>
              <a:ext cx="907478" cy="90747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lvl="0" algn="ctr" defTabSz="533400">
                <a:lnSpc>
                  <a:spcPct val="90000"/>
                </a:lnSpc>
                <a:spcAft>
                  <a:spcPct val="35000"/>
                </a:spcAft>
              </a:pPr>
              <a:r>
                <a:rPr lang="en-US" sz="900" b="1" dirty="0"/>
                <a:t>Collaboration</a:t>
              </a:r>
            </a:p>
          </p:txBody>
        </p:sp>
      </p:grpSp>
      <p:grpSp>
        <p:nvGrpSpPr>
          <p:cNvPr id="37" name="Group 36"/>
          <p:cNvGrpSpPr/>
          <p:nvPr/>
        </p:nvGrpSpPr>
        <p:grpSpPr>
          <a:xfrm>
            <a:off x="3243192" y="3915380"/>
            <a:ext cx="1130596" cy="1130595"/>
            <a:chOff x="9071386" y="151022"/>
            <a:chExt cx="1283368" cy="1283368"/>
          </a:xfrm>
        </p:grpSpPr>
        <p:sp>
          <p:nvSpPr>
            <p:cNvPr id="38" name="Oval 37"/>
            <p:cNvSpPr/>
            <p:nvPr/>
          </p:nvSpPr>
          <p:spPr>
            <a:xfrm>
              <a:off x="9071386" y="151022"/>
              <a:ext cx="1283368" cy="1283368"/>
            </a:xfrm>
            <a:prstGeom prst="ellipse">
              <a:avLst/>
            </a:prstGeom>
            <a:solidFill>
              <a:schemeClr val="accent3">
                <a:hueOff val="0"/>
                <a:satOff val="0"/>
                <a:lumOff val="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alpha val="90000"/>
                <a:hueOff val="0"/>
                <a:satOff val="0"/>
                <a:lumOff val="0"/>
                <a:alphaOff val="-32000"/>
              </a:schemeClr>
            </a:fillRef>
            <a:effectRef idx="0">
              <a:schemeClr val="accent3">
                <a:alpha val="90000"/>
                <a:hueOff val="0"/>
                <a:satOff val="0"/>
                <a:lumOff val="0"/>
                <a:alphaOff val="-32000"/>
              </a:schemeClr>
            </a:effectRef>
            <a:fontRef idx="minor">
              <a:schemeClr val="lt1"/>
            </a:fontRef>
          </p:style>
        </p:sp>
        <p:sp>
          <p:nvSpPr>
            <p:cNvPr id="39" name="Oval 4"/>
            <p:cNvSpPr/>
            <p:nvPr/>
          </p:nvSpPr>
          <p:spPr>
            <a:xfrm>
              <a:off x="9323865" y="338968"/>
              <a:ext cx="907478" cy="90747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lvl="0" algn="ctr" defTabSz="533400">
                <a:lnSpc>
                  <a:spcPct val="90000"/>
                </a:lnSpc>
                <a:spcAft>
                  <a:spcPct val="35000"/>
                </a:spcAft>
              </a:pPr>
              <a:r>
                <a:rPr lang="en-US" sz="1000" b="1" dirty="0"/>
                <a:t>Real-time information</a:t>
              </a:r>
            </a:p>
          </p:txBody>
        </p:sp>
      </p:grpSp>
      <p:grpSp>
        <p:nvGrpSpPr>
          <p:cNvPr id="40" name="Group 39"/>
          <p:cNvGrpSpPr/>
          <p:nvPr/>
        </p:nvGrpSpPr>
        <p:grpSpPr>
          <a:xfrm>
            <a:off x="3240869" y="2574889"/>
            <a:ext cx="1130596" cy="1130595"/>
            <a:chOff x="9135920" y="151023"/>
            <a:chExt cx="1283368" cy="1283368"/>
          </a:xfrm>
        </p:grpSpPr>
        <p:sp>
          <p:nvSpPr>
            <p:cNvPr id="41" name="Oval 40"/>
            <p:cNvSpPr/>
            <p:nvPr/>
          </p:nvSpPr>
          <p:spPr>
            <a:xfrm>
              <a:off x="9135920" y="151023"/>
              <a:ext cx="1283368" cy="1283368"/>
            </a:xfrm>
            <a:prstGeom prst="ellipse">
              <a:avLst/>
            </a:prstGeom>
            <a:solidFill>
              <a:schemeClr val="accent3">
                <a:hueOff val="0"/>
                <a:satOff val="0"/>
                <a:lumOff val="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alpha val="90000"/>
                <a:hueOff val="0"/>
                <a:satOff val="0"/>
                <a:lumOff val="0"/>
                <a:alphaOff val="-32000"/>
              </a:schemeClr>
            </a:fillRef>
            <a:effectRef idx="0">
              <a:schemeClr val="accent3">
                <a:alpha val="90000"/>
                <a:hueOff val="0"/>
                <a:satOff val="0"/>
                <a:lumOff val="0"/>
                <a:alphaOff val="-32000"/>
              </a:schemeClr>
            </a:effectRef>
            <a:fontRef idx="minor">
              <a:schemeClr val="lt1"/>
            </a:fontRef>
          </p:style>
        </p:sp>
        <p:sp>
          <p:nvSpPr>
            <p:cNvPr id="42" name="Oval 4"/>
            <p:cNvSpPr/>
            <p:nvPr/>
          </p:nvSpPr>
          <p:spPr>
            <a:xfrm>
              <a:off x="9323865" y="338968"/>
              <a:ext cx="907478" cy="90747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lvl="0" algn="ctr" defTabSz="533400">
                <a:lnSpc>
                  <a:spcPct val="90000"/>
                </a:lnSpc>
                <a:spcAft>
                  <a:spcPct val="35000"/>
                </a:spcAft>
              </a:pPr>
              <a:r>
                <a:rPr lang="en-US" sz="1000" b="1" dirty="0"/>
                <a:t>Increased Safety</a:t>
              </a:r>
            </a:p>
          </p:txBody>
        </p:sp>
      </p:grpSp>
      <p:grpSp>
        <p:nvGrpSpPr>
          <p:cNvPr id="43" name="Group 42"/>
          <p:cNvGrpSpPr/>
          <p:nvPr/>
        </p:nvGrpSpPr>
        <p:grpSpPr>
          <a:xfrm>
            <a:off x="2460519" y="1401426"/>
            <a:ext cx="1130596" cy="1130595"/>
            <a:chOff x="9135920" y="151023"/>
            <a:chExt cx="1283368" cy="1283368"/>
          </a:xfrm>
        </p:grpSpPr>
        <p:sp>
          <p:nvSpPr>
            <p:cNvPr id="44" name="Oval 43"/>
            <p:cNvSpPr/>
            <p:nvPr/>
          </p:nvSpPr>
          <p:spPr>
            <a:xfrm>
              <a:off x="9135920" y="151023"/>
              <a:ext cx="1283368" cy="1283368"/>
            </a:xfrm>
            <a:prstGeom prst="ellipse">
              <a:avLst/>
            </a:prstGeom>
            <a:solidFill>
              <a:schemeClr val="accent3">
                <a:hueOff val="0"/>
                <a:satOff val="0"/>
                <a:lumOff val="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alpha val="90000"/>
                <a:hueOff val="0"/>
                <a:satOff val="0"/>
                <a:lumOff val="0"/>
                <a:alphaOff val="-32000"/>
              </a:schemeClr>
            </a:fillRef>
            <a:effectRef idx="0">
              <a:schemeClr val="accent3">
                <a:alpha val="90000"/>
                <a:hueOff val="0"/>
                <a:satOff val="0"/>
                <a:lumOff val="0"/>
                <a:alphaOff val="-32000"/>
              </a:schemeClr>
            </a:effectRef>
            <a:fontRef idx="minor">
              <a:schemeClr val="lt1"/>
            </a:fontRef>
          </p:style>
        </p:sp>
        <p:sp>
          <p:nvSpPr>
            <p:cNvPr id="45" name="Oval 4"/>
            <p:cNvSpPr/>
            <p:nvPr/>
          </p:nvSpPr>
          <p:spPr>
            <a:xfrm>
              <a:off x="9323865" y="338968"/>
              <a:ext cx="907478" cy="90747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algn="ctr" defTabSz="533400">
                <a:lnSpc>
                  <a:spcPct val="90000"/>
                </a:lnSpc>
                <a:spcAft>
                  <a:spcPct val="35000"/>
                </a:spcAft>
              </a:pPr>
              <a:r>
                <a:rPr lang="en-US" sz="1000" b="1" dirty="0"/>
                <a:t>True mobility</a:t>
              </a:r>
            </a:p>
          </p:txBody>
        </p:sp>
      </p:grpSp>
      <p:grpSp>
        <p:nvGrpSpPr>
          <p:cNvPr id="51" name="Group 50"/>
          <p:cNvGrpSpPr/>
          <p:nvPr/>
        </p:nvGrpSpPr>
        <p:grpSpPr>
          <a:xfrm>
            <a:off x="997374" y="4119989"/>
            <a:ext cx="1042586" cy="652974"/>
            <a:chOff x="8431779" y="3654567"/>
            <a:chExt cx="1183466" cy="741208"/>
          </a:xfrm>
        </p:grpSpPr>
        <p:pic>
          <p:nvPicPr>
            <p:cNvPr id="48" name="Picture 47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431779" y="3654567"/>
              <a:ext cx="741207" cy="741208"/>
            </a:xfrm>
            <a:prstGeom prst="rect">
              <a:avLst/>
            </a:prstGeom>
          </p:spPr>
        </p:pic>
        <p:pic>
          <p:nvPicPr>
            <p:cNvPr id="49" name="Picture 48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142419" y="3730891"/>
              <a:ext cx="472826" cy="541778"/>
            </a:xfrm>
            <a:prstGeom prst="rect">
              <a:avLst/>
            </a:prstGeom>
          </p:spPr>
        </p:pic>
      </p:grpSp>
      <p:grpSp>
        <p:nvGrpSpPr>
          <p:cNvPr id="53" name="Group 52"/>
          <p:cNvGrpSpPr/>
          <p:nvPr/>
        </p:nvGrpSpPr>
        <p:grpSpPr>
          <a:xfrm>
            <a:off x="1212478" y="2943590"/>
            <a:ext cx="632801" cy="1204043"/>
            <a:chOff x="8793975" y="2529238"/>
            <a:chExt cx="507656" cy="965927"/>
          </a:xfrm>
        </p:grpSpPr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93975" y="2529238"/>
              <a:ext cx="507656" cy="965927"/>
            </a:xfrm>
            <a:prstGeom prst="rect">
              <a:avLst/>
            </a:prstGeom>
          </p:spPr>
        </p:pic>
        <p:pic>
          <p:nvPicPr>
            <p:cNvPr id="50" name="Picture 49"/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897508" y="2785553"/>
              <a:ext cx="300590" cy="300590"/>
            </a:xfrm>
            <a:prstGeom prst="rect">
              <a:avLst/>
            </a:prstGeom>
          </p:spPr>
        </p:pic>
      </p:grpSp>
      <p:pic>
        <p:nvPicPr>
          <p:cNvPr id="63" name="Picture 62"/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4749"/>
          <a:stretch/>
        </p:blipFill>
        <p:spPr>
          <a:xfrm>
            <a:off x="7256763" y="1124162"/>
            <a:ext cx="1372884" cy="1915198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grpSp>
        <p:nvGrpSpPr>
          <p:cNvPr id="9" name="Group 8"/>
          <p:cNvGrpSpPr/>
          <p:nvPr/>
        </p:nvGrpSpPr>
        <p:grpSpPr>
          <a:xfrm>
            <a:off x="5305765" y="3683974"/>
            <a:ext cx="5201814" cy="2573138"/>
            <a:chOff x="4880283" y="3826089"/>
            <a:chExt cx="6052778" cy="2994078"/>
          </a:xfrm>
        </p:grpSpPr>
        <p:grpSp>
          <p:nvGrpSpPr>
            <p:cNvPr id="54" name="Group 26"/>
            <p:cNvGrpSpPr/>
            <p:nvPr/>
          </p:nvGrpSpPr>
          <p:grpSpPr>
            <a:xfrm>
              <a:off x="4880283" y="3826089"/>
              <a:ext cx="2056000" cy="2980704"/>
              <a:chOff x="207434" y="2105472"/>
              <a:chExt cx="6935172" cy="10054328"/>
            </a:xfrm>
          </p:grpSpPr>
          <p:sp>
            <p:nvSpPr>
              <p:cNvPr id="55" name="TextBox 54"/>
              <p:cNvSpPr txBox="1"/>
              <p:nvPr/>
            </p:nvSpPr>
            <p:spPr>
              <a:xfrm>
                <a:off x="207434" y="11298311"/>
                <a:ext cx="6935172" cy="86148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200" b="1" dirty="0">
                    <a:solidFill>
                      <a:srgbClr val="000000"/>
                    </a:solidFill>
                  </a:rPr>
                  <a:t>Something happened!</a:t>
                </a:r>
              </a:p>
            </p:txBody>
          </p:sp>
          <p:pic>
            <p:nvPicPr>
              <p:cNvPr id="56" name="Picture 2"/>
              <p:cNvPicPr>
                <a:picLocks noChangeAspect="1" noChangeArrowheads="1"/>
              </p:cNvPicPr>
              <p:nvPr/>
            </p:nvPicPr>
            <p:blipFill>
              <a:blip r:embed="rId7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454696" y="2105472"/>
                <a:ext cx="5156050" cy="9170896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75000"/>
                  </a:schemeClr>
                </a:solidFill>
              </a:ln>
              <a:effectLst/>
            </p:spPr>
          </p:pic>
        </p:grpSp>
        <p:grpSp>
          <p:nvGrpSpPr>
            <p:cNvPr id="57" name="Group 27"/>
            <p:cNvGrpSpPr/>
            <p:nvPr/>
          </p:nvGrpSpPr>
          <p:grpSpPr>
            <a:xfrm>
              <a:off x="7187618" y="3832375"/>
              <a:ext cx="1655116" cy="2987792"/>
              <a:chOff x="5914728" y="2185098"/>
              <a:chExt cx="5582936" cy="10078232"/>
            </a:xfrm>
          </p:grpSpPr>
          <p:sp>
            <p:nvSpPr>
              <p:cNvPr id="58" name="TextBox 57"/>
              <p:cNvSpPr txBox="1"/>
              <p:nvPr/>
            </p:nvSpPr>
            <p:spPr>
              <a:xfrm>
                <a:off x="5914728" y="11328974"/>
                <a:ext cx="5582936" cy="9343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200" b="1" dirty="0">
                    <a:solidFill>
                      <a:srgbClr val="000000"/>
                    </a:solidFill>
                  </a:rPr>
                  <a:t>What happened?</a:t>
                </a:r>
              </a:p>
            </p:txBody>
          </p:sp>
          <p:pic>
            <p:nvPicPr>
              <p:cNvPr id="59" name="Picture 3" descr="C:\Users\E728130\Documents\Rohit\MyProjects\BF230\NextGen\Mobility\Screenshots\IMG_0242.PNG"/>
              <p:cNvPicPr>
                <a:picLocks noChangeAspect="1" noChangeArrowheads="1"/>
              </p:cNvPicPr>
              <p:nvPr/>
            </p:nvPicPr>
            <p:blipFill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927304" y="2185098"/>
                <a:ext cx="5112568" cy="9089010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75000"/>
                  </a:schemeClr>
                </a:solidFill>
              </a:ln>
              <a:effectLst/>
            </p:spPr>
          </p:pic>
        </p:grpSp>
        <p:grpSp>
          <p:nvGrpSpPr>
            <p:cNvPr id="60" name="Group 22"/>
            <p:cNvGrpSpPr/>
            <p:nvPr/>
          </p:nvGrpSpPr>
          <p:grpSpPr>
            <a:xfrm>
              <a:off x="9369724" y="3826089"/>
              <a:ext cx="1563337" cy="2954692"/>
              <a:chOff x="11455152" y="2143126"/>
              <a:chExt cx="5273352" cy="9966583"/>
            </a:xfrm>
          </p:grpSpPr>
          <p:sp>
            <p:nvSpPr>
              <p:cNvPr id="61" name="TextBox 60"/>
              <p:cNvSpPr txBox="1"/>
              <p:nvPr/>
            </p:nvSpPr>
            <p:spPr>
              <a:xfrm>
                <a:off x="11455152" y="11371047"/>
                <a:ext cx="4421582" cy="73866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200" b="1" dirty="0">
                    <a:solidFill>
                      <a:srgbClr val="000000"/>
                    </a:solidFill>
                  </a:rPr>
                  <a:t>Get help.</a:t>
                </a:r>
              </a:p>
            </p:txBody>
          </p:sp>
          <p:pic>
            <p:nvPicPr>
              <p:cNvPr id="62" name="Picture 2"/>
              <p:cNvPicPr>
                <a:picLocks noChangeAspect="1" noChangeArrowheads="1"/>
              </p:cNvPicPr>
              <p:nvPr/>
            </p:nvPicPr>
            <p:blipFill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11597934" y="2143126"/>
                <a:ext cx="5130570" cy="9172574"/>
              </a:xfrm>
              <a:prstGeom prst="rect">
                <a:avLst/>
              </a:prstGeom>
              <a:noFill/>
              <a:ln w="6350">
                <a:solidFill>
                  <a:schemeClr val="bg1">
                    <a:lumMod val="75000"/>
                  </a:schemeClr>
                </a:solidFill>
              </a:ln>
              <a:effectLst/>
            </p:spPr>
          </p:pic>
        </p:grpSp>
        <p:sp>
          <p:nvSpPr>
            <p:cNvPr id="65" name="Down Arrow 64"/>
            <p:cNvSpPr/>
            <p:nvPr/>
          </p:nvSpPr>
          <p:spPr bwMode="auto">
            <a:xfrm rot="5400000" flipV="1">
              <a:off x="6534368" y="4940519"/>
              <a:ext cx="589267" cy="533958"/>
            </a:xfrm>
            <a:prstGeom prst="downArrow">
              <a:avLst>
                <a:gd name="adj1" fmla="val 47351"/>
                <a:gd name="adj2" fmla="val 41413"/>
              </a:avLst>
            </a:prstGeom>
            <a:solidFill>
              <a:schemeClr val="accent5">
                <a:lumMod val="75000"/>
              </a:schemeClr>
            </a:solidFill>
            <a:ln w="285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2000">
                <a:latin typeface="Arial" charset="0"/>
              </a:endParaRPr>
            </a:p>
          </p:txBody>
        </p:sp>
        <p:sp>
          <p:nvSpPr>
            <p:cNvPr id="66" name="Down Arrow 65"/>
            <p:cNvSpPr/>
            <p:nvPr/>
          </p:nvSpPr>
          <p:spPr bwMode="auto">
            <a:xfrm rot="5400000" flipV="1">
              <a:off x="8767430" y="4940520"/>
              <a:ext cx="589267" cy="533958"/>
            </a:xfrm>
            <a:prstGeom prst="downArrow">
              <a:avLst>
                <a:gd name="adj1" fmla="val 47351"/>
                <a:gd name="adj2" fmla="val 41413"/>
              </a:avLst>
            </a:prstGeom>
            <a:solidFill>
              <a:schemeClr val="accent5">
                <a:lumMod val="75000"/>
              </a:schemeClr>
            </a:solidFill>
            <a:ln w="285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2000">
                <a:latin typeface="Arial" charset="0"/>
              </a:endParaRPr>
            </a:p>
          </p:txBody>
        </p:sp>
      </p:grpSp>
      <p:grpSp>
        <p:nvGrpSpPr>
          <p:cNvPr id="52" name="Group 34"/>
          <p:cNvGrpSpPr/>
          <p:nvPr/>
        </p:nvGrpSpPr>
        <p:grpSpPr>
          <a:xfrm>
            <a:off x="5256610" y="1104900"/>
            <a:ext cx="1566442" cy="1824179"/>
            <a:chOff x="17626111" y="7011561"/>
            <a:chExt cx="4421579" cy="5422342"/>
          </a:xfrm>
        </p:grpSpPr>
        <p:sp>
          <p:nvSpPr>
            <p:cNvPr id="67" name="TextBox 66"/>
            <p:cNvSpPr txBox="1"/>
            <p:nvPr/>
          </p:nvSpPr>
          <p:spPr>
            <a:xfrm>
              <a:off x="17626111" y="11610528"/>
              <a:ext cx="4421579" cy="8233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 dirty="0">
                  <a:solidFill>
                    <a:srgbClr val="000000"/>
                  </a:solidFill>
                </a:rPr>
                <a:t>Keep an eye on it.</a:t>
              </a:r>
            </a:p>
          </p:txBody>
        </p:sp>
        <p:pic>
          <p:nvPicPr>
            <p:cNvPr id="68" name="Picture 6"/>
            <p:cNvPicPr>
              <a:picLocks noChangeAspect="1" noChangeArrowheads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528704" y="7011561"/>
              <a:ext cx="2796158" cy="445495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  <p:grpSp>
        <p:nvGrpSpPr>
          <p:cNvPr id="69" name="Group 33"/>
          <p:cNvGrpSpPr/>
          <p:nvPr/>
        </p:nvGrpSpPr>
        <p:grpSpPr>
          <a:xfrm>
            <a:off x="9231064" y="1104900"/>
            <a:ext cx="1188132" cy="1811727"/>
            <a:chOff x="17899776" y="2033466"/>
            <a:chExt cx="3168352" cy="4831271"/>
          </a:xfrm>
        </p:grpSpPr>
        <p:pic>
          <p:nvPicPr>
            <p:cNvPr id="70" name="Picture 5" descr="C:\Users\E728130\Documents\Rohit\MyProjects\BF230\NextGen\Mobility\Screenshots\IMG_0245.PNG"/>
            <p:cNvPicPr>
              <a:picLocks noChangeAspect="1" noChangeArrowheads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456696" y="2033466"/>
              <a:ext cx="2239746" cy="3981772"/>
            </a:xfrm>
            <a:prstGeom prst="rect">
              <a:avLst/>
            </a:prstGeom>
            <a:noFill/>
            <a:effectLst/>
          </p:spPr>
        </p:pic>
        <p:sp>
          <p:nvSpPr>
            <p:cNvPr id="71" name="TextBox 70"/>
            <p:cNvSpPr txBox="1"/>
            <p:nvPr/>
          </p:nvSpPr>
          <p:spPr>
            <a:xfrm>
              <a:off x="17899776" y="6126073"/>
              <a:ext cx="3168352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 dirty="0">
                  <a:solidFill>
                    <a:srgbClr val="000000"/>
                  </a:solidFill>
                </a:rPr>
                <a:t>Dig deeper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1398179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9191" y="176179"/>
            <a:ext cx="10491779" cy="511862"/>
          </a:xfrm>
        </p:spPr>
        <p:txBody>
          <a:bodyPr/>
          <a:lstStyle/>
          <a:p>
            <a:r>
              <a:rPr lang="en-US" dirty="0" smtClean="0"/>
              <a:t>Global Diversified Installed Bas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 smtClean="0"/>
              <a:t>Well Positioned </a:t>
            </a:r>
            <a:r>
              <a:rPr lang="en-US" dirty="0"/>
              <a:t>T</a:t>
            </a:r>
            <a:r>
              <a:rPr lang="en-US" dirty="0" smtClean="0"/>
              <a:t>o </a:t>
            </a:r>
            <a:r>
              <a:rPr lang="en-US" dirty="0"/>
              <a:t>L</a:t>
            </a:r>
            <a:r>
              <a:rPr lang="en-US" dirty="0" smtClean="0"/>
              <a:t>everage </a:t>
            </a:r>
            <a:r>
              <a:rPr lang="en-US" dirty="0"/>
              <a:t>D</a:t>
            </a:r>
            <a:r>
              <a:rPr lang="en-US" dirty="0" smtClean="0"/>
              <a:t>iversified </a:t>
            </a:r>
            <a:r>
              <a:rPr lang="en-US" dirty="0"/>
              <a:t>I</a:t>
            </a:r>
            <a:r>
              <a:rPr lang="en-US" dirty="0" smtClean="0"/>
              <a:t>nstall </a:t>
            </a:r>
            <a:r>
              <a:rPr lang="en-US" dirty="0"/>
              <a:t>B</a:t>
            </a:r>
            <a:r>
              <a:rPr lang="en-US" dirty="0" smtClean="0"/>
              <a:t>ase</a:t>
            </a:r>
            <a:endParaRPr lang="en-US" dirty="0"/>
          </a:p>
        </p:txBody>
      </p:sp>
      <p:sp>
        <p:nvSpPr>
          <p:cNvPr id="6" name="BJPseudoFooter"/>
          <p:cNvSpPr txBox="1"/>
          <p:nvPr>
            <p:custDataLst>
              <p:tags r:id="rId1"/>
            </p:custDataLst>
          </p:nvPr>
        </p:nvSpPr>
        <p:spPr>
          <a:xfrm>
            <a:off x="127000" y="6645245"/>
            <a:ext cx="11938000" cy="200055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700" smtClean="0">
                <a:solidFill>
                  <a:srgbClr val="7F7F7F"/>
                </a:solidFill>
              </a:rPr>
              <a:t>Honeywell Internal</a:t>
            </a:r>
            <a:endParaRPr lang="en-US" sz="700">
              <a:solidFill>
                <a:srgbClr val="7F7F7F"/>
              </a:solidFill>
            </a:endParaRPr>
          </a:p>
        </p:txBody>
      </p:sp>
      <p:sp>
        <p:nvSpPr>
          <p:cNvPr id="40" name="Rectangle 5"/>
          <p:cNvSpPr/>
          <p:nvPr/>
        </p:nvSpPr>
        <p:spPr>
          <a:xfrm>
            <a:off x="690566" y="878890"/>
            <a:ext cx="3073155" cy="417251"/>
          </a:xfrm>
          <a:prstGeom prst="rect">
            <a:avLst/>
          </a:prstGeom>
          <a:solidFill>
            <a:srgbClr val="000000">
              <a:lumMod val="65000"/>
              <a:lumOff val="35000"/>
            </a:srgbClr>
          </a:solidFill>
          <a:ln w="12700" cap="flat" cmpd="sng" algn="ctr">
            <a:solidFill>
              <a:srgbClr val="707070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Connected Homes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690565" y="1371480"/>
            <a:ext cx="3073156" cy="138491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53" name="Oval 52"/>
          <p:cNvSpPr/>
          <p:nvPr/>
        </p:nvSpPr>
        <p:spPr>
          <a:xfrm>
            <a:off x="288783" y="774206"/>
            <a:ext cx="807885" cy="716080"/>
          </a:xfrm>
          <a:prstGeom prst="ellipse">
            <a:avLst/>
          </a:prstGeom>
          <a:solidFill>
            <a:srgbClr val="FF0000"/>
          </a:solidFill>
          <a:ln w="12700"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dirty="0" smtClean="0">
              <a:solidFill>
                <a:schemeClr val="bg1"/>
              </a:solidFill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357408" y="878889"/>
            <a:ext cx="71503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>
                <a:solidFill>
                  <a:schemeClr val="bg1"/>
                </a:solidFill>
              </a:rPr>
              <a:t>+150M Homes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55" name="Rectangle 5"/>
          <p:cNvSpPr/>
          <p:nvPr/>
        </p:nvSpPr>
        <p:spPr>
          <a:xfrm>
            <a:off x="4498662" y="878890"/>
            <a:ext cx="3073155" cy="417251"/>
          </a:xfrm>
          <a:prstGeom prst="rect">
            <a:avLst/>
          </a:prstGeom>
          <a:solidFill>
            <a:srgbClr val="000000">
              <a:lumMod val="65000"/>
              <a:lumOff val="35000"/>
            </a:srgbClr>
          </a:solidFill>
          <a:ln w="12700" cap="flat" cmpd="sng" algn="ctr">
            <a:solidFill>
              <a:srgbClr val="707070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Connected</a:t>
            </a:r>
            <a:r>
              <a:rPr kumimoji="0" lang="en-US" sz="1800" b="1" i="0" u="none" strike="noStrike" kern="0" cap="none" spc="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Buildings</a:t>
            </a:r>
            <a:endParaRPr kumimoji="0" lang="en-US" sz="18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4498661" y="1371480"/>
            <a:ext cx="3073156" cy="138491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57" name="Oval 56"/>
          <p:cNvSpPr/>
          <p:nvPr/>
        </p:nvSpPr>
        <p:spPr>
          <a:xfrm>
            <a:off x="4096879" y="774206"/>
            <a:ext cx="807885" cy="716080"/>
          </a:xfrm>
          <a:prstGeom prst="ellipse">
            <a:avLst/>
          </a:prstGeom>
          <a:solidFill>
            <a:srgbClr val="FF0000"/>
          </a:solidFill>
          <a:ln w="12700"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dirty="0" smtClean="0">
              <a:solidFill>
                <a:schemeClr val="bg1"/>
              </a:solidFill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4044395" y="851119"/>
            <a:ext cx="88467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>
                <a:solidFill>
                  <a:schemeClr val="bg1"/>
                </a:solidFill>
              </a:rPr>
              <a:t>+10M Buildings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59" name="Rectangle 5"/>
          <p:cNvSpPr/>
          <p:nvPr/>
        </p:nvSpPr>
        <p:spPr>
          <a:xfrm>
            <a:off x="8279444" y="878890"/>
            <a:ext cx="3073155" cy="417251"/>
          </a:xfrm>
          <a:prstGeom prst="rect">
            <a:avLst/>
          </a:prstGeom>
          <a:solidFill>
            <a:srgbClr val="000000">
              <a:lumMod val="65000"/>
              <a:lumOff val="35000"/>
            </a:srgbClr>
          </a:solidFill>
          <a:ln w="12700" cap="flat" cmpd="sng" algn="ctr">
            <a:solidFill>
              <a:srgbClr val="707070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Connected Plants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8279443" y="1371480"/>
            <a:ext cx="3073156" cy="138491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61" name="Oval 60"/>
          <p:cNvSpPr/>
          <p:nvPr/>
        </p:nvSpPr>
        <p:spPr>
          <a:xfrm>
            <a:off x="7877661" y="774206"/>
            <a:ext cx="807885" cy="716080"/>
          </a:xfrm>
          <a:prstGeom prst="ellipse">
            <a:avLst/>
          </a:prstGeom>
          <a:solidFill>
            <a:srgbClr val="FF0000"/>
          </a:solidFill>
          <a:ln w="12700"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dirty="0" smtClean="0">
              <a:solidFill>
                <a:schemeClr val="bg1"/>
              </a:solidFill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7946286" y="878889"/>
            <a:ext cx="71503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>
                <a:solidFill>
                  <a:schemeClr val="bg1"/>
                </a:solidFill>
              </a:rPr>
              <a:t>+10K Plants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66" name="Rectangle 5"/>
          <p:cNvSpPr/>
          <p:nvPr/>
        </p:nvSpPr>
        <p:spPr>
          <a:xfrm>
            <a:off x="690567" y="2900955"/>
            <a:ext cx="3073155" cy="417251"/>
          </a:xfrm>
          <a:prstGeom prst="rect">
            <a:avLst/>
          </a:prstGeom>
          <a:solidFill>
            <a:srgbClr val="000000">
              <a:lumMod val="65000"/>
              <a:lumOff val="35000"/>
            </a:srgbClr>
          </a:solidFill>
          <a:ln w="12700" cap="flat" cmpd="sng" algn="ctr">
            <a:solidFill>
              <a:srgbClr val="707070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Connected Aircrafts</a:t>
            </a:r>
          </a:p>
        </p:txBody>
      </p:sp>
      <p:sp>
        <p:nvSpPr>
          <p:cNvPr id="67" name="TextBox 66"/>
          <p:cNvSpPr txBox="1"/>
          <p:nvPr/>
        </p:nvSpPr>
        <p:spPr>
          <a:xfrm>
            <a:off x="690566" y="3393545"/>
            <a:ext cx="3073156" cy="138491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68" name="Oval 67"/>
          <p:cNvSpPr/>
          <p:nvPr/>
        </p:nvSpPr>
        <p:spPr>
          <a:xfrm>
            <a:off x="288784" y="2796271"/>
            <a:ext cx="807885" cy="716080"/>
          </a:xfrm>
          <a:prstGeom prst="ellipse">
            <a:avLst/>
          </a:prstGeom>
          <a:solidFill>
            <a:srgbClr val="FF0000"/>
          </a:solidFill>
          <a:ln w="12700"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dirty="0" smtClean="0">
              <a:solidFill>
                <a:schemeClr val="bg1"/>
              </a:solidFill>
            </a:endParaRPr>
          </a:p>
        </p:txBody>
      </p:sp>
      <p:sp>
        <p:nvSpPr>
          <p:cNvPr id="69" name="TextBox 68"/>
          <p:cNvSpPr txBox="1"/>
          <p:nvPr/>
        </p:nvSpPr>
        <p:spPr>
          <a:xfrm>
            <a:off x="286622" y="2909316"/>
            <a:ext cx="80788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>
                <a:solidFill>
                  <a:schemeClr val="bg1"/>
                </a:solidFill>
              </a:rPr>
              <a:t>+130K Aircrafts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70" name="Rectangle 5"/>
          <p:cNvSpPr/>
          <p:nvPr/>
        </p:nvSpPr>
        <p:spPr>
          <a:xfrm>
            <a:off x="4498663" y="2936419"/>
            <a:ext cx="3073155" cy="417251"/>
          </a:xfrm>
          <a:prstGeom prst="rect">
            <a:avLst/>
          </a:prstGeom>
          <a:solidFill>
            <a:srgbClr val="000000">
              <a:lumMod val="65000"/>
              <a:lumOff val="35000"/>
            </a:srgbClr>
          </a:solidFill>
          <a:ln w="12700" cap="flat" cmpd="sng" algn="ctr">
            <a:solidFill>
              <a:srgbClr val="707070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Connected Vehicles</a:t>
            </a:r>
          </a:p>
        </p:txBody>
      </p:sp>
      <p:sp>
        <p:nvSpPr>
          <p:cNvPr id="71" name="TextBox 70"/>
          <p:cNvSpPr txBox="1"/>
          <p:nvPr/>
        </p:nvSpPr>
        <p:spPr>
          <a:xfrm>
            <a:off x="4498662" y="3429009"/>
            <a:ext cx="3073156" cy="138491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72" name="Oval 71"/>
          <p:cNvSpPr/>
          <p:nvPr/>
        </p:nvSpPr>
        <p:spPr>
          <a:xfrm>
            <a:off x="4096880" y="2831735"/>
            <a:ext cx="807885" cy="716080"/>
          </a:xfrm>
          <a:prstGeom prst="ellipse">
            <a:avLst/>
          </a:prstGeom>
          <a:solidFill>
            <a:srgbClr val="FF0000"/>
          </a:solidFill>
          <a:ln w="12700"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dirty="0" smtClean="0">
              <a:solidFill>
                <a:schemeClr val="bg1"/>
              </a:solidFill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4082790" y="2928277"/>
            <a:ext cx="80788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>
                <a:solidFill>
                  <a:schemeClr val="bg1"/>
                </a:solidFill>
              </a:rPr>
              <a:t>+100M Vehicles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74" name="Rectangle 5"/>
          <p:cNvSpPr/>
          <p:nvPr/>
        </p:nvSpPr>
        <p:spPr>
          <a:xfrm>
            <a:off x="8279445" y="2932580"/>
            <a:ext cx="3073155" cy="417251"/>
          </a:xfrm>
          <a:prstGeom prst="rect">
            <a:avLst/>
          </a:prstGeom>
          <a:solidFill>
            <a:srgbClr val="000000">
              <a:lumMod val="65000"/>
              <a:lumOff val="35000"/>
            </a:srgbClr>
          </a:solidFill>
          <a:ln w="12700" cap="flat" cmpd="sng" algn="ctr">
            <a:solidFill>
              <a:srgbClr val="707070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Connected Warehouses</a:t>
            </a:r>
          </a:p>
        </p:txBody>
      </p:sp>
      <p:sp>
        <p:nvSpPr>
          <p:cNvPr id="75" name="TextBox 74"/>
          <p:cNvSpPr txBox="1"/>
          <p:nvPr/>
        </p:nvSpPr>
        <p:spPr>
          <a:xfrm>
            <a:off x="8279444" y="3425170"/>
            <a:ext cx="3073156" cy="138491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76" name="Oval 75"/>
          <p:cNvSpPr/>
          <p:nvPr/>
        </p:nvSpPr>
        <p:spPr>
          <a:xfrm>
            <a:off x="7795381" y="2790964"/>
            <a:ext cx="807885" cy="716080"/>
          </a:xfrm>
          <a:prstGeom prst="ellipse">
            <a:avLst/>
          </a:prstGeom>
          <a:solidFill>
            <a:srgbClr val="FF0000"/>
          </a:solidFill>
          <a:ln w="12700"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dirty="0" smtClean="0">
              <a:solidFill>
                <a:schemeClr val="bg1"/>
              </a:solidFill>
            </a:endParaRPr>
          </a:p>
        </p:txBody>
      </p:sp>
      <p:sp>
        <p:nvSpPr>
          <p:cNvPr id="77" name="TextBox 76"/>
          <p:cNvSpPr txBox="1"/>
          <p:nvPr/>
        </p:nvSpPr>
        <p:spPr>
          <a:xfrm>
            <a:off x="7626641" y="2903170"/>
            <a:ext cx="114104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>
                <a:solidFill>
                  <a:schemeClr val="bg1"/>
                </a:solidFill>
              </a:rPr>
              <a:t>+10K </a:t>
            </a:r>
            <a:r>
              <a:rPr lang="en-US" sz="1000" b="1" dirty="0" smtClean="0">
                <a:solidFill>
                  <a:schemeClr val="bg1"/>
                </a:solidFill>
              </a:rPr>
              <a:t>Warehouses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78" name="Isosceles Triangle 77"/>
          <p:cNvSpPr/>
          <p:nvPr/>
        </p:nvSpPr>
        <p:spPr>
          <a:xfrm>
            <a:off x="944020" y="4837491"/>
            <a:ext cx="10313188" cy="326392"/>
          </a:xfrm>
          <a:prstGeom prst="triangle">
            <a:avLst/>
          </a:prstGeom>
          <a:solidFill>
            <a:schemeClr val="tx1">
              <a:lumMod val="65000"/>
              <a:lumOff val="35000"/>
            </a:schemeClr>
          </a:solidFill>
          <a:ln w="12700"/>
          <a:scene3d>
            <a:camera prst="orthographicFront">
              <a:rot lat="0" lon="0" rev="10800000"/>
            </a:camera>
            <a:lightRig rig="threePt" dir="t"/>
          </a:scene3d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smtClean="0">
              <a:solidFill>
                <a:schemeClr val="accent3"/>
              </a:solidFill>
            </a:endParaRPr>
          </a:p>
        </p:txBody>
      </p:sp>
      <p:sp>
        <p:nvSpPr>
          <p:cNvPr id="84" name="TextBox 83"/>
          <p:cNvSpPr txBox="1"/>
          <p:nvPr/>
        </p:nvSpPr>
        <p:spPr>
          <a:xfrm>
            <a:off x="4083559" y="4779083"/>
            <a:ext cx="4669654" cy="30184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endParaRPr lang="en-US" dirty="0"/>
          </a:p>
        </p:txBody>
      </p:sp>
      <p:sp>
        <p:nvSpPr>
          <p:cNvPr id="85" name="TextBox 84"/>
          <p:cNvSpPr txBox="1"/>
          <p:nvPr/>
        </p:nvSpPr>
        <p:spPr>
          <a:xfrm>
            <a:off x="982986" y="1540968"/>
            <a:ext cx="2488313" cy="100264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Comfort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Convenie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Secur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86" name="TextBox 85"/>
          <p:cNvSpPr txBox="1"/>
          <p:nvPr/>
        </p:nvSpPr>
        <p:spPr>
          <a:xfrm>
            <a:off x="4712587" y="1516405"/>
            <a:ext cx="2556770" cy="100264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Energy Efficienc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Safety &amp; Secur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Comfort</a:t>
            </a:r>
            <a:endParaRPr lang="en-US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87" name="TextBox 86"/>
          <p:cNvSpPr txBox="1"/>
          <p:nvPr/>
        </p:nvSpPr>
        <p:spPr>
          <a:xfrm>
            <a:off x="8362843" y="1544841"/>
            <a:ext cx="2906355" cy="100264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Production Efficienc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Process Reliabil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Reduced Downtime</a:t>
            </a:r>
            <a:endParaRPr lang="en-US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89" name="TextBox 88"/>
          <p:cNvSpPr txBox="1"/>
          <p:nvPr/>
        </p:nvSpPr>
        <p:spPr>
          <a:xfrm>
            <a:off x="857366" y="3561057"/>
            <a:ext cx="2906355" cy="100264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Fuel Efficienc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Enhanced Safe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Passenger Delight</a:t>
            </a:r>
            <a:endParaRPr lang="en-US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90" name="TextBox 89"/>
          <p:cNvSpPr txBox="1"/>
          <p:nvPr/>
        </p:nvSpPr>
        <p:spPr>
          <a:xfrm>
            <a:off x="4642822" y="3509294"/>
            <a:ext cx="2906355" cy="100264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Vehicle Healt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Passenger Safe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Fuel Efficiency</a:t>
            </a:r>
            <a:endParaRPr lang="en-US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91" name="TextBox 90"/>
          <p:cNvSpPr txBox="1"/>
          <p:nvPr/>
        </p:nvSpPr>
        <p:spPr>
          <a:xfrm>
            <a:off x="8403146" y="3574046"/>
            <a:ext cx="2906355" cy="100264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Improved Productiv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Worker Safe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Asset Maintenance</a:t>
            </a:r>
            <a:endParaRPr lang="en-US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0" name="Oval 19"/>
          <p:cNvSpPr/>
          <p:nvPr/>
        </p:nvSpPr>
        <p:spPr>
          <a:xfrm>
            <a:off x="4427351" y="5165122"/>
            <a:ext cx="1074198" cy="1034704"/>
          </a:xfrm>
          <a:prstGeom prst="ellipse">
            <a:avLst/>
          </a:prstGeom>
          <a:solidFill>
            <a:srgbClr val="FF0000"/>
          </a:solidFill>
          <a:ln w="12700"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 smtClean="0">
              <a:solidFill>
                <a:schemeClr val="accent3"/>
              </a:solidFill>
            </a:endParaRPr>
          </a:p>
        </p:txBody>
      </p:sp>
      <p:sp>
        <p:nvSpPr>
          <p:cNvPr id="94" name="Oval 93"/>
          <p:cNvSpPr/>
          <p:nvPr/>
        </p:nvSpPr>
        <p:spPr>
          <a:xfrm>
            <a:off x="6382233" y="5177344"/>
            <a:ext cx="1074198" cy="1034704"/>
          </a:xfrm>
          <a:prstGeom prst="ellipse">
            <a:avLst/>
          </a:prstGeom>
          <a:solidFill>
            <a:srgbClr val="FF0000"/>
          </a:solidFill>
          <a:ln w="12700"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 smtClean="0">
              <a:solidFill>
                <a:schemeClr val="accent3"/>
              </a:solidFill>
            </a:endParaRPr>
          </a:p>
        </p:txBody>
      </p:sp>
      <p:sp>
        <p:nvSpPr>
          <p:cNvPr id="95" name="TextBox 94"/>
          <p:cNvSpPr txBox="1"/>
          <p:nvPr/>
        </p:nvSpPr>
        <p:spPr>
          <a:xfrm>
            <a:off x="4334604" y="5327173"/>
            <a:ext cx="125969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smtClean="0">
                <a:solidFill>
                  <a:schemeClr val="bg1"/>
                </a:solidFill>
              </a:rPr>
              <a:t>3.8M Customers</a:t>
            </a: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97" name="TextBox 96"/>
          <p:cNvSpPr txBox="1"/>
          <p:nvPr/>
        </p:nvSpPr>
        <p:spPr>
          <a:xfrm>
            <a:off x="6289486" y="5345041"/>
            <a:ext cx="125969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smtClean="0">
                <a:solidFill>
                  <a:schemeClr val="bg1"/>
                </a:solidFill>
              </a:rPr>
              <a:t>11K+ Developers</a:t>
            </a:r>
            <a:endParaRPr lang="en-US" sz="1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29841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23160" y="1288325"/>
            <a:ext cx="7929539" cy="38277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3" name="Shape 154"/>
          <p:cNvSpPr/>
          <p:nvPr/>
        </p:nvSpPr>
        <p:spPr>
          <a:xfrm rot="16200000">
            <a:off x="3793256" y="2848766"/>
            <a:ext cx="509127" cy="9564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423" y="0"/>
                </a:moveTo>
                <a:lnTo>
                  <a:pt x="3423" y="12927"/>
                </a:lnTo>
                <a:lnTo>
                  <a:pt x="0" y="14542"/>
                </a:lnTo>
                <a:lnTo>
                  <a:pt x="3423" y="16157"/>
                </a:lnTo>
                <a:lnTo>
                  <a:pt x="3423" y="21600"/>
                </a:lnTo>
                <a:lnTo>
                  <a:pt x="21600" y="21600"/>
                </a:lnTo>
                <a:lnTo>
                  <a:pt x="21600" y="0"/>
                </a:lnTo>
                <a:lnTo>
                  <a:pt x="3423" y="0"/>
                </a:lnTo>
                <a:close/>
              </a:path>
            </a:pathLst>
          </a:custGeom>
          <a:solidFill>
            <a:srgbClr val="535353"/>
          </a:solidFill>
          <a:ln w="12700">
            <a:miter lim="400000"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0" tIns="0" rIns="0" bIns="0" anchor="ctr"/>
          <a:lstStyle/>
          <a:p>
            <a:pPr>
              <a:defRPr>
                <a:solidFill>
                  <a:srgbClr val="FFFFFF"/>
                </a:solidFill>
              </a:defRPr>
            </a:pPr>
            <a:endParaRPr sz="1013">
              <a:solidFill>
                <a:srgbClr val="FFFFFF"/>
              </a:solidFill>
            </a:endParaRPr>
          </a:p>
        </p:txBody>
      </p:sp>
      <p:sp>
        <p:nvSpPr>
          <p:cNvPr id="4" name="Shape 155"/>
          <p:cNvSpPr/>
          <p:nvPr/>
        </p:nvSpPr>
        <p:spPr>
          <a:xfrm rot="16200000">
            <a:off x="5563260" y="2550261"/>
            <a:ext cx="509127" cy="9413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909" y="0"/>
                </a:moveTo>
                <a:lnTo>
                  <a:pt x="3909" y="8850"/>
                </a:lnTo>
                <a:lnTo>
                  <a:pt x="0" y="10497"/>
                </a:lnTo>
                <a:lnTo>
                  <a:pt x="3909" y="12138"/>
                </a:lnTo>
                <a:lnTo>
                  <a:pt x="3909" y="21600"/>
                </a:lnTo>
                <a:lnTo>
                  <a:pt x="21600" y="21600"/>
                </a:lnTo>
                <a:lnTo>
                  <a:pt x="21600" y="0"/>
                </a:lnTo>
                <a:lnTo>
                  <a:pt x="3909" y="0"/>
                </a:lnTo>
                <a:close/>
              </a:path>
            </a:pathLst>
          </a:custGeom>
          <a:solidFill>
            <a:srgbClr val="535353"/>
          </a:solidFill>
          <a:ln w="12700">
            <a:miter lim="400000"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0" tIns="0" rIns="0" bIns="0" anchor="ctr"/>
          <a:lstStyle/>
          <a:p>
            <a:pPr>
              <a:defRPr>
                <a:solidFill>
                  <a:srgbClr val="FFFFFF"/>
                </a:solidFill>
              </a:defRPr>
            </a:pPr>
            <a:endParaRPr sz="1013">
              <a:solidFill>
                <a:srgbClr val="FFFFFF"/>
              </a:solidFill>
            </a:endParaRPr>
          </a:p>
        </p:txBody>
      </p:sp>
      <p:sp>
        <p:nvSpPr>
          <p:cNvPr id="5" name="Shape 156"/>
          <p:cNvSpPr/>
          <p:nvPr/>
        </p:nvSpPr>
        <p:spPr>
          <a:xfrm rot="16200000">
            <a:off x="7081810" y="1736355"/>
            <a:ext cx="509843" cy="93967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18000" y="21600"/>
                </a:lnTo>
                <a:lnTo>
                  <a:pt x="18000" y="12609"/>
                </a:lnTo>
                <a:lnTo>
                  <a:pt x="21600" y="10971"/>
                </a:lnTo>
                <a:lnTo>
                  <a:pt x="18000" y="9338"/>
                </a:lnTo>
                <a:lnTo>
                  <a:pt x="18000" y="0"/>
                </a:lnTo>
                <a:lnTo>
                  <a:pt x="0" y="0"/>
                </a:lnTo>
                <a:close/>
              </a:path>
            </a:pathLst>
          </a:custGeom>
          <a:solidFill>
            <a:srgbClr val="535353"/>
          </a:solidFill>
          <a:ln w="12700">
            <a:noFill/>
            <a:miter lim="400000"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0" tIns="0" rIns="0" bIns="0" anchor="ctr"/>
          <a:lstStyle/>
          <a:p>
            <a:pPr>
              <a:defRPr>
                <a:solidFill>
                  <a:srgbClr val="FFFFFF"/>
                </a:solidFill>
              </a:defRPr>
            </a:pPr>
            <a:endParaRPr sz="1013">
              <a:solidFill>
                <a:srgbClr val="FFFFFF"/>
              </a:solidFill>
            </a:endParaRPr>
          </a:p>
        </p:txBody>
      </p:sp>
      <p:sp>
        <p:nvSpPr>
          <p:cNvPr id="6" name="Shape 157"/>
          <p:cNvSpPr/>
          <p:nvPr/>
        </p:nvSpPr>
        <p:spPr>
          <a:xfrm rot="16200000">
            <a:off x="414607" y="3014393"/>
            <a:ext cx="1922413" cy="9564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75" y="0"/>
                </a:moveTo>
                <a:lnTo>
                  <a:pt x="1075" y="3737"/>
                </a:lnTo>
                <a:lnTo>
                  <a:pt x="0" y="5352"/>
                </a:lnTo>
                <a:lnTo>
                  <a:pt x="1075" y="6967"/>
                </a:lnTo>
                <a:lnTo>
                  <a:pt x="1075" y="21600"/>
                </a:lnTo>
                <a:lnTo>
                  <a:pt x="21600" y="21600"/>
                </a:lnTo>
                <a:lnTo>
                  <a:pt x="21600" y="0"/>
                </a:lnTo>
                <a:lnTo>
                  <a:pt x="1075" y="0"/>
                </a:lnTo>
                <a:close/>
              </a:path>
            </a:pathLst>
          </a:custGeom>
          <a:solidFill>
            <a:srgbClr val="535353"/>
          </a:solidFill>
          <a:ln w="12700">
            <a:miter lim="400000"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0" tIns="0" rIns="0" bIns="0" anchor="ctr"/>
          <a:lstStyle/>
          <a:p>
            <a:pPr>
              <a:defRPr>
                <a:solidFill>
                  <a:srgbClr val="FFFFFF"/>
                </a:solidFill>
              </a:defRPr>
            </a:pPr>
            <a:endParaRPr sz="1013">
              <a:solidFill>
                <a:srgbClr val="FFFFFF"/>
              </a:solidFill>
            </a:endParaRPr>
          </a:p>
        </p:txBody>
      </p:sp>
      <p:sp>
        <p:nvSpPr>
          <p:cNvPr id="7" name="Shape 160"/>
          <p:cNvSpPr/>
          <p:nvPr/>
        </p:nvSpPr>
        <p:spPr>
          <a:xfrm>
            <a:off x="938026" y="3975698"/>
            <a:ext cx="759842" cy="31156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/>
          <a:lstStyle/>
          <a:p>
            <a:pPr>
              <a:spcBef>
                <a:spcPts val="225"/>
              </a:spcBef>
            </a:pPr>
            <a:r>
              <a:rPr lang="en-US" sz="900" b="1" dirty="0">
                <a:solidFill>
                  <a:srgbClr val="FFFFFF"/>
                </a:solidFill>
              </a:rPr>
              <a:t>Unobtrusive</a:t>
            </a:r>
            <a:endParaRPr sz="900" b="1" dirty="0">
              <a:solidFill>
                <a:srgbClr val="FFFFFF"/>
              </a:solidFill>
            </a:endParaRPr>
          </a:p>
          <a:p>
            <a:pPr>
              <a:spcBef>
                <a:spcPts val="225"/>
              </a:spcBef>
            </a:pPr>
            <a:r>
              <a:rPr sz="900" b="1" dirty="0">
                <a:solidFill>
                  <a:srgbClr val="FFFFFF"/>
                </a:solidFill>
              </a:rPr>
              <a:t>Access</a:t>
            </a:r>
          </a:p>
        </p:txBody>
      </p:sp>
      <p:sp>
        <p:nvSpPr>
          <p:cNvPr id="8" name="Shape 161"/>
          <p:cNvSpPr/>
          <p:nvPr/>
        </p:nvSpPr>
        <p:spPr>
          <a:xfrm>
            <a:off x="3599814" y="3094728"/>
            <a:ext cx="896008" cy="7938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/>
          <a:lstStyle/>
          <a:p>
            <a:pPr>
              <a:spcBef>
                <a:spcPts val="225"/>
              </a:spcBef>
            </a:pPr>
            <a:r>
              <a:rPr sz="900" b="1" dirty="0">
                <a:solidFill>
                  <a:srgbClr val="FFFFFF"/>
                </a:solidFill>
              </a:rPr>
              <a:t>Conference</a:t>
            </a:r>
          </a:p>
          <a:p>
            <a:pPr>
              <a:spcBef>
                <a:spcPts val="225"/>
              </a:spcBef>
            </a:pPr>
            <a:r>
              <a:rPr sz="900" b="1" dirty="0">
                <a:solidFill>
                  <a:srgbClr val="FFFFFF"/>
                </a:solidFill>
              </a:rPr>
              <a:t>Room Booking</a:t>
            </a:r>
          </a:p>
        </p:txBody>
      </p:sp>
      <p:sp>
        <p:nvSpPr>
          <p:cNvPr id="9" name="Shape 163"/>
          <p:cNvSpPr/>
          <p:nvPr/>
        </p:nvSpPr>
        <p:spPr>
          <a:xfrm>
            <a:off x="6949440" y="2086496"/>
            <a:ext cx="814292" cy="41715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/>
          <a:lstStyle/>
          <a:p>
            <a:pPr>
              <a:spcBef>
                <a:spcPts val="225"/>
              </a:spcBef>
            </a:pPr>
            <a:r>
              <a:rPr sz="900" b="1" dirty="0">
                <a:solidFill>
                  <a:srgbClr val="FFFFFF"/>
                </a:solidFill>
              </a:rPr>
              <a:t>Comfort</a:t>
            </a:r>
          </a:p>
          <a:p>
            <a:pPr>
              <a:spcBef>
                <a:spcPts val="225"/>
              </a:spcBef>
            </a:pPr>
            <a:r>
              <a:rPr sz="900" b="1" dirty="0">
                <a:solidFill>
                  <a:srgbClr val="FFFFFF"/>
                </a:solidFill>
              </a:rPr>
              <a:t>Controls</a:t>
            </a:r>
          </a:p>
        </p:txBody>
      </p:sp>
      <p:sp>
        <p:nvSpPr>
          <p:cNvPr id="10" name="Shape 165"/>
          <p:cNvSpPr/>
          <p:nvPr/>
        </p:nvSpPr>
        <p:spPr>
          <a:xfrm>
            <a:off x="5382022" y="2806499"/>
            <a:ext cx="956435" cy="40164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/>
          <a:lstStyle/>
          <a:p>
            <a:pPr>
              <a:spcBef>
                <a:spcPts val="225"/>
              </a:spcBef>
            </a:pPr>
            <a:r>
              <a:rPr sz="900" b="1">
                <a:solidFill>
                  <a:srgbClr val="FFFFFF"/>
                </a:solidFill>
              </a:rPr>
              <a:t>Food</a:t>
            </a:r>
          </a:p>
          <a:p>
            <a:pPr>
              <a:spcBef>
                <a:spcPts val="225"/>
              </a:spcBef>
            </a:pPr>
            <a:r>
              <a:rPr sz="900" b="1">
                <a:solidFill>
                  <a:srgbClr val="FFFFFF"/>
                </a:solidFill>
              </a:rPr>
              <a:t>Ordering</a:t>
            </a:r>
          </a:p>
        </p:txBody>
      </p:sp>
      <p:sp>
        <p:nvSpPr>
          <p:cNvPr id="11" name="Shape 167"/>
          <p:cNvSpPr/>
          <p:nvPr/>
        </p:nvSpPr>
        <p:spPr>
          <a:xfrm rot="16200000">
            <a:off x="2250458" y="3157808"/>
            <a:ext cx="555195" cy="95643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482" y="0"/>
                </a:moveTo>
                <a:lnTo>
                  <a:pt x="3482" y="8017"/>
                </a:lnTo>
                <a:lnTo>
                  <a:pt x="0" y="9633"/>
                </a:lnTo>
                <a:lnTo>
                  <a:pt x="3482" y="11253"/>
                </a:lnTo>
                <a:lnTo>
                  <a:pt x="3482" y="21600"/>
                </a:lnTo>
                <a:lnTo>
                  <a:pt x="21600" y="21600"/>
                </a:lnTo>
                <a:lnTo>
                  <a:pt x="21600" y="0"/>
                </a:lnTo>
                <a:lnTo>
                  <a:pt x="3482" y="0"/>
                </a:lnTo>
                <a:close/>
              </a:path>
            </a:pathLst>
          </a:custGeom>
          <a:solidFill>
            <a:srgbClr val="535353"/>
          </a:solidFill>
          <a:ln w="12700">
            <a:miter lim="400000"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0" tIns="0" rIns="0" bIns="0" anchor="ctr"/>
          <a:lstStyle/>
          <a:p>
            <a:pPr>
              <a:defRPr>
                <a:solidFill>
                  <a:srgbClr val="FFFFFF"/>
                </a:solidFill>
              </a:defRPr>
            </a:pPr>
            <a:endParaRPr sz="900" b="1" dirty="0">
              <a:solidFill>
                <a:srgbClr val="FFFFFF"/>
              </a:solidFill>
            </a:endParaRPr>
          </a:p>
        </p:txBody>
      </p:sp>
      <p:sp>
        <p:nvSpPr>
          <p:cNvPr id="12" name="Shape 168"/>
          <p:cNvSpPr/>
          <p:nvPr/>
        </p:nvSpPr>
        <p:spPr>
          <a:xfrm>
            <a:off x="2080051" y="3417970"/>
            <a:ext cx="893123" cy="40164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/>
          <a:lstStyle>
            <a:lvl1pPr>
              <a:spcBef>
                <a:spcPts val="400"/>
              </a:spcBef>
              <a:defRPr sz="1500" b="1">
                <a:solidFill>
                  <a:srgbClr val="FFFFFF"/>
                </a:solidFill>
              </a:defRPr>
            </a:lvl1pPr>
          </a:lstStyle>
          <a:p>
            <a:pPr>
              <a:defRPr sz="1800" b="0">
                <a:solidFill>
                  <a:srgbClr val="000000"/>
                </a:solidFill>
              </a:defRPr>
            </a:pPr>
            <a:r>
              <a:rPr sz="900" dirty="0">
                <a:solidFill>
                  <a:schemeClr val="bg1"/>
                </a:solidFill>
              </a:rPr>
              <a:t>Indoor Navigation</a:t>
            </a:r>
          </a:p>
        </p:txBody>
      </p:sp>
      <p:grpSp>
        <p:nvGrpSpPr>
          <p:cNvPr id="15" name="Group 14"/>
          <p:cNvGrpSpPr/>
          <p:nvPr/>
        </p:nvGrpSpPr>
        <p:grpSpPr>
          <a:xfrm>
            <a:off x="897596" y="2503646"/>
            <a:ext cx="956435" cy="1384902"/>
            <a:chOff x="1607753" y="1575086"/>
            <a:chExt cx="2322377" cy="2648605"/>
          </a:xfrm>
        </p:grpSpPr>
        <p:pic>
          <p:nvPicPr>
            <p:cNvPr id="16" name="Picture 1"/>
            <p:cNvPicPr>
              <a:picLocks noChangeAspect="1" noChangeArrowheads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07753" y="1575086"/>
              <a:ext cx="2315336" cy="2648605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</p:spPr>
        </p:pic>
        <p:pic>
          <p:nvPicPr>
            <p:cNvPr id="17" name="access_frictionless-filtered.png"/>
            <p:cNvPicPr/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090703" y="2926236"/>
              <a:ext cx="1839427" cy="1241944"/>
            </a:xfrm>
            <a:prstGeom prst="rect">
              <a:avLst/>
            </a:prstGeom>
            <a:ln w="12700">
              <a:miter lim="400000"/>
            </a:ln>
          </p:spPr>
        </p:pic>
      </p:grpSp>
      <p:pic>
        <p:nvPicPr>
          <p:cNvPr id="18" name="Picture 1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63578" y="1400097"/>
            <a:ext cx="962459" cy="16768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9" name="Picture 2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47160" y="1115209"/>
            <a:ext cx="949627" cy="16511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0" name="Picture 3"/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49839" y="1681609"/>
            <a:ext cx="962459" cy="16768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1" name="Picture 4"/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70066" y="2443497"/>
            <a:ext cx="939677" cy="16318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2" name="Picture 3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895253" y="1120420"/>
            <a:ext cx="1149171" cy="2043197"/>
          </a:xfrm>
          <a:prstGeom prst="rect">
            <a:avLst/>
          </a:prstGeom>
          <a:noFill/>
          <a:ln w="6350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4"/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904050" y="3674222"/>
            <a:ext cx="1140374" cy="2026278"/>
          </a:xfrm>
          <a:prstGeom prst="rect">
            <a:avLst/>
          </a:prstGeom>
          <a:noFill/>
          <a:ln w="6350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5"/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46300" y="1105467"/>
            <a:ext cx="1149849" cy="2043198"/>
          </a:xfrm>
          <a:prstGeom prst="rect">
            <a:avLst/>
          </a:prstGeom>
          <a:noFill/>
          <a:ln w="6350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12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02133" y="3674903"/>
            <a:ext cx="1151285" cy="2043198"/>
          </a:xfrm>
          <a:prstGeom prst="rect">
            <a:avLst/>
          </a:prstGeom>
          <a:noFill/>
          <a:ln w="6350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Title 75"/>
          <p:cNvSpPr txBox="1">
            <a:spLocks/>
          </p:cNvSpPr>
          <p:nvPr/>
        </p:nvSpPr>
        <p:spPr>
          <a:xfrm>
            <a:off x="557532" y="1038094"/>
            <a:ext cx="7997825" cy="468312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  <a:defRPr/>
            </a:pPr>
            <a:endParaRPr lang="en-US" sz="2400" b="1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" name="Title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kern="0" smtClean="0">
                <a:solidFill>
                  <a:srgbClr val="000000"/>
                </a:solidFill>
                <a:latin typeface="Arial"/>
              </a:rPr>
              <a:t>Connecting People</a:t>
            </a:r>
            <a:br>
              <a:rPr lang="en-US" kern="0" smtClean="0">
                <a:solidFill>
                  <a:srgbClr val="000000"/>
                </a:solidFill>
                <a:latin typeface="Arial"/>
              </a:rPr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20398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  <p:bldP spid="5" grpId="0" animBg="1"/>
      <p:bldP spid="6" grpId="0" animBg="1"/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47031" y="994732"/>
            <a:ext cx="7658829" cy="498475"/>
          </a:xfrm>
        </p:spPr>
        <p:txBody>
          <a:bodyPr/>
          <a:lstStyle/>
          <a:p>
            <a:r>
              <a:rPr lang="ru-RU" sz="2400" b="0" dirty="0"/>
              <a:t> </a:t>
            </a:r>
            <a:r>
              <a:rPr lang="en-US" sz="2400" b="0" dirty="0" err="1" smtClean="0"/>
              <a:t>V.Dozortsev</a:t>
            </a:r>
            <a:r>
              <a:rPr lang="en-US" sz="2400" b="0" dirty="0" smtClean="0"/>
              <a:t>, </a:t>
            </a:r>
            <a:r>
              <a:rPr lang="en-US" sz="2400" b="0" dirty="0" err="1" smtClean="0"/>
              <a:t>L.Sorkin</a:t>
            </a:r>
            <a:r>
              <a:rPr lang="en-US" sz="2400" b="0" dirty="0" smtClean="0"/>
              <a:t/>
            </a:r>
            <a:br>
              <a:rPr lang="en-US" sz="2400" b="0" dirty="0" smtClean="0"/>
            </a:br>
            <a:r>
              <a:rPr lang="ru-RU" sz="2400" dirty="0" smtClean="0"/>
              <a:t>‘</a:t>
            </a:r>
            <a:r>
              <a:rPr lang="en-US" sz="2400" dirty="0"/>
              <a:t>CONNECTED’ solutions in</a:t>
            </a:r>
            <a:r>
              <a:rPr lang="ru-RU" sz="2400" dirty="0"/>
              <a:t> </a:t>
            </a:r>
            <a:r>
              <a:rPr lang="en-US" sz="2400" dirty="0"/>
              <a:t>HONEYWELL strategy</a:t>
            </a:r>
            <a:endParaRPr lang="en-US" sz="2400" dirty="0"/>
          </a:p>
        </p:txBody>
      </p:sp>
      <p:sp>
        <p:nvSpPr>
          <p:cNvPr id="20" name="Title 1"/>
          <p:cNvSpPr txBox="1">
            <a:spLocks/>
          </p:cNvSpPr>
          <p:nvPr/>
        </p:nvSpPr>
        <p:spPr bwMode="auto">
          <a:xfrm>
            <a:off x="3424140" y="3357470"/>
            <a:ext cx="4452921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lang="en-US" sz="2800" b="1" kern="1200" dirty="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en-US" sz="2400" b="0" dirty="0" smtClean="0">
                <a:solidFill>
                  <a:srgbClr val="FF3300"/>
                </a:solidFill>
              </a:rPr>
              <a:t> </a:t>
            </a:r>
            <a:r>
              <a:rPr lang="en-US" sz="2400" dirty="0" smtClean="0">
                <a:solidFill>
                  <a:srgbClr val="FF3300"/>
                </a:solidFill>
              </a:rPr>
              <a:t>Thank you for the attention! </a:t>
            </a:r>
            <a:endParaRPr lang="en-US" sz="2400" dirty="0">
              <a:solidFill>
                <a:srgbClr val="FF33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61527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9191" y="176179"/>
            <a:ext cx="10491779" cy="511862"/>
          </a:xfrm>
        </p:spPr>
        <p:txBody>
          <a:bodyPr/>
          <a:lstStyle/>
          <a:p>
            <a:r>
              <a:rPr lang="en-US" dirty="0" smtClean="0"/>
              <a:t>Honeywell IIoT Strategy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-326394" y="6401564"/>
            <a:ext cx="11876616" cy="457200"/>
          </a:xfrm>
        </p:spPr>
        <p:txBody>
          <a:bodyPr/>
          <a:lstStyle/>
          <a:p>
            <a:r>
              <a:rPr lang="en-US" dirty="0" smtClean="0"/>
              <a:t>Leverage Installed Base </a:t>
            </a:r>
            <a:r>
              <a:rPr lang="en-US" dirty="0"/>
              <a:t>T</a:t>
            </a:r>
            <a:r>
              <a:rPr lang="en-US" dirty="0" smtClean="0"/>
              <a:t>o Deliver </a:t>
            </a:r>
            <a:r>
              <a:rPr lang="en-US" dirty="0"/>
              <a:t>N</a:t>
            </a:r>
            <a:r>
              <a:rPr lang="en-US" dirty="0" smtClean="0"/>
              <a:t>ew IIoT Offerings &amp; Business Models  </a:t>
            </a:r>
            <a:endParaRPr lang="en-US" dirty="0"/>
          </a:p>
        </p:txBody>
      </p:sp>
      <p:sp>
        <p:nvSpPr>
          <p:cNvPr id="6" name="BJPseudoFooter"/>
          <p:cNvSpPr txBox="1"/>
          <p:nvPr>
            <p:custDataLst>
              <p:tags r:id="rId1"/>
            </p:custDataLst>
          </p:nvPr>
        </p:nvSpPr>
        <p:spPr>
          <a:xfrm>
            <a:off x="127000" y="6645245"/>
            <a:ext cx="11938000" cy="200055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700" smtClean="0">
                <a:solidFill>
                  <a:srgbClr val="7F7F7F"/>
                </a:solidFill>
              </a:rPr>
              <a:t>Honeywell Internal</a:t>
            </a:r>
            <a:endParaRPr lang="en-US" sz="700">
              <a:solidFill>
                <a:srgbClr val="7F7F7F"/>
              </a:solidFill>
            </a:endParaRPr>
          </a:p>
        </p:txBody>
      </p:sp>
      <p:sp>
        <p:nvSpPr>
          <p:cNvPr id="50" name="Rectangle 49"/>
          <p:cNvSpPr/>
          <p:nvPr/>
        </p:nvSpPr>
        <p:spPr>
          <a:xfrm>
            <a:off x="499191" y="1516989"/>
            <a:ext cx="7845817" cy="1450991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smtClean="0">
              <a:solidFill>
                <a:schemeClr val="accent2"/>
              </a:solidFill>
            </a:endParaRPr>
          </a:p>
        </p:txBody>
      </p:sp>
      <p:sp>
        <p:nvSpPr>
          <p:cNvPr id="65" name="Rectangle 64"/>
          <p:cNvSpPr/>
          <p:nvPr/>
        </p:nvSpPr>
        <p:spPr>
          <a:xfrm>
            <a:off x="499189" y="1516989"/>
            <a:ext cx="1951046" cy="1450991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12700"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dirty="0" smtClean="0">
                <a:solidFill>
                  <a:schemeClr val="bg1"/>
                </a:solidFill>
              </a:rPr>
              <a:t>Based on Our Industry Expertise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765267" y="1447364"/>
            <a:ext cx="3201234" cy="4595073"/>
          </a:xfrm>
          <a:prstGeom prst="rect">
            <a:avLst/>
          </a:prstGeom>
        </p:spPr>
      </p:pic>
      <p:sp>
        <p:nvSpPr>
          <p:cNvPr id="99" name="Rectangle 5"/>
          <p:cNvSpPr/>
          <p:nvPr/>
        </p:nvSpPr>
        <p:spPr>
          <a:xfrm>
            <a:off x="8728568" y="873598"/>
            <a:ext cx="3073155" cy="417251"/>
          </a:xfrm>
          <a:prstGeom prst="rect">
            <a:avLst/>
          </a:prstGeom>
          <a:solidFill>
            <a:srgbClr val="000000">
              <a:lumMod val="65000"/>
              <a:lumOff val="35000"/>
            </a:srgbClr>
          </a:solidFill>
          <a:ln w="12700" cap="flat" cmpd="sng" algn="ctr">
            <a:solidFill>
              <a:srgbClr val="707070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kern="0" dirty="0" smtClean="0">
                <a:solidFill>
                  <a:srgbClr val="FFFFFF"/>
                </a:solidFill>
                <a:latin typeface="Arial"/>
                <a:cs typeface="Arial" panose="020B0604020202020204" pitchFamily="34" charset="0"/>
              </a:rPr>
              <a:t>Customer Values</a:t>
            </a:r>
            <a:endParaRPr kumimoji="0" lang="en-US" sz="18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00" name="Rectangle 5"/>
          <p:cNvSpPr/>
          <p:nvPr/>
        </p:nvSpPr>
        <p:spPr>
          <a:xfrm>
            <a:off x="499191" y="877590"/>
            <a:ext cx="7845817" cy="417251"/>
          </a:xfrm>
          <a:prstGeom prst="rect">
            <a:avLst/>
          </a:prstGeom>
          <a:solidFill>
            <a:srgbClr val="000000">
              <a:lumMod val="65000"/>
              <a:lumOff val="35000"/>
            </a:srgbClr>
          </a:solidFill>
          <a:ln w="12700" cap="flat" cmpd="sng" algn="ctr">
            <a:solidFill>
              <a:srgbClr val="707070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kern="0" dirty="0" smtClean="0">
                <a:solidFill>
                  <a:srgbClr val="FFFFFF"/>
                </a:solidFill>
                <a:latin typeface="Arial"/>
                <a:cs typeface="Arial" panose="020B0604020202020204" pitchFamily="34" charset="0"/>
              </a:rPr>
              <a:t>Strategy</a:t>
            </a:r>
            <a:endParaRPr kumimoji="0" lang="en-US" sz="18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01" name="Rectangle 100"/>
          <p:cNvSpPr/>
          <p:nvPr/>
        </p:nvSpPr>
        <p:spPr>
          <a:xfrm>
            <a:off x="499193" y="3120380"/>
            <a:ext cx="7845817" cy="1450991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smtClean="0">
              <a:solidFill>
                <a:schemeClr val="accent2"/>
              </a:solidFill>
            </a:endParaRPr>
          </a:p>
        </p:txBody>
      </p:sp>
      <p:sp>
        <p:nvSpPr>
          <p:cNvPr id="102" name="Rectangle 101"/>
          <p:cNvSpPr/>
          <p:nvPr/>
        </p:nvSpPr>
        <p:spPr>
          <a:xfrm>
            <a:off x="499191" y="3120380"/>
            <a:ext cx="1951046" cy="1450991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12700"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dirty="0" smtClean="0">
                <a:solidFill>
                  <a:schemeClr val="bg1"/>
                </a:solidFill>
              </a:rPr>
              <a:t>HON as Differentiator</a:t>
            </a:r>
          </a:p>
        </p:txBody>
      </p:sp>
      <p:sp>
        <p:nvSpPr>
          <p:cNvPr id="103" name="Rectangle 102"/>
          <p:cNvSpPr/>
          <p:nvPr/>
        </p:nvSpPr>
        <p:spPr>
          <a:xfrm>
            <a:off x="499189" y="4689010"/>
            <a:ext cx="7845817" cy="1450991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smtClean="0">
              <a:solidFill>
                <a:schemeClr val="accent2"/>
              </a:solidFill>
            </a:endParaRPr>
          </a:p>
        </p:txBody>
      </p:sp>
      <p:sp>
        <p:nvSpPr>
          <p:cNvPr id="104" name="Rectangle 103"/>
          <p:cNvSpPr/>
          <p:nvPr/>
        </p:nvSpPr>
        <p:spPr>
          <a:xfrm>
            <a:off x="499187" y="4689010"/>
            <a:ext cx="1951046" cy="1450991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12700"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Deliver New Offerings  through new business </a:t>
            </a:r>
            <a:r>
              <a:rPr lang="en-US" b="1" dirty="0" smtClean="0">
                <a:solidFill>
                  <a:schemeClr val="bg1"/>
                </a:solidFill>
              </a:rPr>
              <a:t>models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13" name="Isosceles Triangle 12"/>
          <p:cNvSpPr/>
          <p:nvPr/>
        </p:nvSpPr>
        <p:spPr>
          <a:xfrm flipH="1">
            <a:off x="6239741" y="3690301"/>
            <a:ext cx="4630791" cy="311811"/>
          </a:xfrm>
          <a:prstGeom prst="triangle">
            <a:avLst/>
          </a:prstGeom>
          <a:solidFill>
            <a:schemeClr val="tx1">
              <a:lumMod val="65000"/>
              <a:lumOff val="35000"/>
            </a:schemeClr>
          </a:solidFill>
          <a:ln w="12700"/>
          <a:scene3d>
            <a:camera prst="orthographicFront">
              <a:rot lat="0" lon="0" rev="16200000"/>
            </a:camera>
            <a:lightRig rig="threePt" dir="t"/>
          </a:scene3d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US" dirty="0" smtClean="0">
              <a:solidFill>
                <a:schemeClr val="accent3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2450238" y="1651247"/>
            <a:ext cx="580599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Industry specific value proposi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Years of end user itera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M</a:t>
            </a:r>
            <a:r>
              <a:rPr lang="en-US" dirty="0" smtClean="0"/>
              <a:t>arket presence in high barrier to entry industr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105" name="TextBox 104"/>
          <p:cNvSpPr txBox="1"/>
          <p:nvPr/>
        </p:nvSpPr>
        <p:spPr>
          <a:xfrm>
            <a:off x="2549447" y="3263448"/>
            <a:ext cx="589476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Value through Honeywell intellectual proper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Focus on industries we understan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Successful, dedicated experience tea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106" name="TextBox 105"/>
          <p:cNvSpPr txBox="1"/>
          <p:nvPr/>
        </p:nvSpPr>
        <p:spPr>
          <a:xfrm>
            <a:off x="2554839" y="4680131"/>
            <a:ext cx="5263446" cy="125627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Outcome based services through Saa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PaaS opportunities through ecosystem pla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Cross business synergy opportunities</a:t>
            </a:r>
          </a:p>
          <a:p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40354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9191" y="176179"/>
            <a:ext cx="10491779" cy="511862"/>
          </a:xfrm>
        </p:spPr>
        <p:txBody>
          <a:bodyPr/>
          <a:lstStyle/>
          <a:p>
            <a:r>
              <a:rPr lang="en-US" dirty="0" smtClean="0"/>
              <a:t>Honeywell Sentience</a:t>
            </a:r>
            <a:r>
              <a:rPr lang="en-US" baseline="30000" dirty="0" smtClean="0"/>
              <a:t>TM </a:t>
            </a:r>
            <a:r>
              <a:rPr lang="en-US" dirty="0"/>
              <a:t> </a:t>
            </a:r>
            <a:r>
              <a:rPr lang="en-US" dirty="0" smtClean="0"/>
              <a:t>- Platform for all IIoT Offerings</a:t>
            </a:r>
            <a:endParaRPr lang="en-US" baseline="300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-379661" y="6383809"/>
            <a:ext cx="11876616" cy="457200"/>
          </a:xfrm>
        </p:spPr>
        <p:txBody>
          <a:bodyPr/>
          <a:lstStyle/>
          <a:p>
            <a:r>
              <a:rPr lang="en-US" dirty="0" smtClean="0"/>
              <a:t>Sentience</a:t>
            </a:r>
            <a:r>
              <a:rPr lang="en-US" baseline="30000" dirty="0" smtClean="0"/>
              <a:t>TM</a:t>
            </a:r>
            <a:r>
              <a:rPr lang="en-US" dirty="0" smtClean="0"/>
              <a:t> Enables HON Businesses To Deliver New IIoT Offerings  </a:t>
            </a:r>
            <a:endParaRPr lang="en-US" baseline="30000" dirty="0"/>
          </a:p>
        </p:txBody>
      </p:sp>
      <p:sp>
        <p:nvSpPr>
          <p:cNvPr id="6" name="BJPseudoFooter"/>
          <p:cNvSpPr txBox="1"/>
          <p:nvPr>
            <p:custDataLst>
              <p:tags r:id="rId1"/>
            </p:custDataLst>
          </p:nvPr>
        </p:nvSpPr>
        <p:spPr>
          <a:xfrm>
            <a:off x="127000" y="6645245"/>
            <a:ext cx="11938000" cy="200055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700" smtClean="0">
                <a:solidFill>
                  <a:srgbClr val="7F7F7F"/>
                </a:solidFill>
              </a:rPr>
              <a:t>Honeywell Internal</a:t>
            </a:r>
            <a:endParaRPr lang="en-US" sz="700">
              <a:solidFill>
                <a:srgbClr val="7F7F7F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603682" y="994299"/>
            <a:ext cx="1420427" cy="1136342"/>
          </a:xfrm>
          <a:prstGeom prst="rect">
            <a:avLst/>
          </a:prstGeom>
          <a:solidFill>
            <a:srgbClr val="FF0000"/>
          </a:solidFill>
          <a:ln w="12700"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dirty="0" smtClean="0">
                <a:solidFill>
                  <a:schemeClr val="bg1"/>
                </a:solidFill>
              </a:rPr>
              <a:t>What is Sentience?</a:t>
            </a:r>
          </a:p>
        </p:txBody>
      </p:sp>
      <p:sp>
        <p:nvSpPr>
          <p:cNvPr id="20" name="Rectangle 5"/>
          <p:cNvSpPr/>
          <p:nvPr/>
        </p:nvSpPr>
        <p:spPr>
          <a:xfrm>
            <a:off x="603682" y="2406251"/>
            <a:ext cx="11221374" cy="417251"/>
          </a:xfrm>
          <a:prstGeom prst="rect">
            <a:avLst/>
          </a:prstGeom>
          <a:solidFill>
            <a:srgbClr val="000000">
              <a:lumMod val="65000"/>
              <a:lumOff val="35000"/>
            </a:srgbClr>
          </a:solidFill>
          <a:ln w="12700" cap="flat" cmpd="sng" algn="ctr">
            <a:solidFill>
              <a:srgbClr val="707070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kern="0" dirty="0" smtClean="0">
                <a:solidFill>
                  <a:srgbClr val="FFFFFF"/>
                </a:solidFill>
                <a:latin typeface="Arial"/>
                <a:cs typeface="Arial" panose="020B0604020202020204" pitchFamily="34" charset="0"/>
              </a:rPr>
              <a:t>Key Performance Indicators</a:t>
            </a:r>
            <a:endParaRPr kumimoji="0" lang="en-US" sz="18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263806" y="1100831"/>
            <a:ext cx="91262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u="sng" dirty="0" smtClean="0"/>
              <a:t>Single Platform That All Honeywell Businesses Are Using To Build Software</a:t>
            </a:r>
            <a:endParaRPr lang="en-US" b="1" u="sng" dirty="0"/>
          </a:p>
        </p:txBody>
      </p:sp>
      <p:sp>
        <p:nvSpPr>
          <p:cNvPr id="8" name="TextBox 7"/>
          <p:cNvSpPr txBox="1"/>
          <p:nvPr/>
        </p:nvSpPr>
        <p:spPr>
          <a:xfrm>
            <a:off x="2263806" y="1536988"/>
            <a:ext cx="301840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>
                <a:solidFill>
                  <a:srgbClr val="FF0000"/>
                </a:solidFill>
              </a:rPr>
              <a:t>Device &amp; Data Management</a:t>
            </a:r>
          </a:p>
          <a:p>
            <a:r>
              <a:rPr lang="en-US" sz="1600" b="1" dirty="0" smtClean="0"/>
              <a:t>From Edge to Cloud </a:t>
            </a:r>
            <a:endParaRPr lang="en-US" sz="1600" b="1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53626" y="1713844"/>
            <a:ext cx="257175" cy="266700"/>
          </a:xfrm>
          <a:prstGeom prst="rect">
            <a:avLst/>
          </a:prstGeom>
        </p:spPr>
      </p:pic>
      <p:sp>
        <p:nvSpPr>
          <p:cNvPr id="24" name="TextBox 23"/>
          <p:cNvSpPr txBox="1"/>
          <p:nvPr/>
        </p:nvSpPr>
        <p:spPr>
          <a:xfrm>
            <a:off x="9266954" y="1562469"/>
            <a:ext cx="271629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>
                <a:solidFill>
                  <a:srgbClr val="FF0000"/>
                </a:solidFill>
              </a:rPr>
              <a:t>Developer Tools</a:t>
            </a:r>
          </a:p>
          <a:p>
            <a:r>
              <a:rPr lang="en-US" sz="1600" b="1" dirty="0" smtClean="0"/>
              <a:t>And Partner Applications</a:t>
            </a:r>
            <a:endParaRPr lang="en-US" sz="1600" b="1" dirty="0"/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93634" y="1696025"/>
            <a:ext cx="257175" cy="266700"/>
          </a:xfrm>
          <a:prstGeom prst="rect">
            <a:avLst/>
          </a:prstGeom>
        </p:spPr>
      </p:pic>
      <p:sp>
        <p:nvSpPr>
          <p:cNvPr id="26" name="TextBox 25"/>
          <p:cNvSpPr txBox="1"/>
          <p:nvPr/>
        </p:nvSpPr>
        <p:spPr>
          <a:xfrm>
            <a:off x="5564966" y="1562470"/>
            <a:ext cx="370198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>
                <a:solidFill>
                  <a:srgbClr val="FF0000"/>
                </a:solidFill>
              </a:rPr>
              <a:t>Analytical Tools</a:t>
            </a:r>
          </a:p>
          <a:p>
            <a:r>
              <a:rPr lang="en-US" sz="1600" b="1" dirty="0" smtClean="0"/>
              <a:t>To Quickly Turn Data Into Insights </a:t>
            </a:r>
            <a:endParaRPr lang="en-US" sz="1600" b="1" dirty="0"/>
          </a:p>
        </p:txBody>
      </p:sp>
      <p:sp>
        <p:nvSpPr>
          <p:cNvPr id="12" name="Rectangle 11"/>
          <p:cNvSpPr/>
          <p:nvPr/>
        </p:nvSpPr>
        <p:spPr>
          <a:xfrm>
            <a:off x="603682" y="3089429"/>
            <a:ext cx="5486400" cy="1127464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smtClean="0">
              <a:solidFill>
                <a:schemeClr val="accent3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603682" y="3098167"/>
            <a:ext cx="1748901" cy="1127464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12700"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dirty="0" smtClean="0">
                <a:solidFill>
                  <a:schemeClr val="bg1"/>
                </a:solidFill>
              </a:rPr>
              <a:t>Speed</a:t>
            </a:r>
          </a:p>
        </p:txBody>
      </p:sp>
      <p:sp>
        <p:nvSpPr>
          <p:cNvPr id="34" name="Rectangle 33"/>
          <p:cNvSpPr/>
          <p:nvPr/>
        </p:nvSpPr>
        <p:spPr>
          <a:xfrm>
            <a:off x="6338656" y="3071571"/>
            <a:ext cx="5486400" cy="1127464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smtClean="0">
              <a:solidFill>
                <a:schemeClr val="accent3"/>
              </a:solidFill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6338656" y="3071571"/>
            <a:ext cx="1713391" cy="1127464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12700"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dirty="0" smtClean="0">
                <a:solidFill>
                  <a:schemeClr val="bg1"/>
                </a:solidFill>
              </a:rPr>
              <a:t>Economies</a:t>
            </a:r>
          </a:p>
        </p:txBody>
      </p:sp>
      <p:sp>
        <p:nvSpPr>
          <p:cNvPr id="36" name="Rectangle 35"/>
          <p:cNvSpPr/>
          <p:nvPr/>
        </p:nvSpPr>
        <p:spPr>
          <a:xfrm>
            <a:off x="603682" y="4510537"/>
            <a:ext cx="5486400" cy="1127464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smtClean="0">
              <a:solidFill>
                <a:schemeClr val="accent3"/>
              </a:solidFill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603682" y="4510537"/>
            <a:ext cx="1748901" cy="1127464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12700"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dirty="0" smtClean="0">
                <a:solidFill>
                  <a:schemeClr val="bg1"/>
                </a:solidFill>
              </a:rPr>
              <a:t>Scale</a:t>
            </a:r>
          </a:p>
        </p:txBody>
      </p:sp>
      <p:sp>
        <p:nvSpPr>
          <p:cNvPr id="38" name="Rectangle 37"/>
          <p:cNvSpPr/>
          <p:nvPr/>
        </p:nvSpPr>
        <p:spPr>
          <a:xfrm>
            <a:off x="6338656" y="4500297"/>
            <a:ext cx="5486400" cy="1127464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smtClean="0">
              <a:solidFill>
                <a:schemeClr val="accent3"/>
              </a:solidFill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6338656" y="4500297"/>
            <a:ext cx="1713391" cy="1127464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12700"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dirty="0" smtClean="0">
                <a:solidFill>
                  <a:schemeClr val="bg1"/>
                </a:solidFill>
              </a:rPr>
              <a:t>Consumption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2352210" y="3173638"/>
            <a:ext cx="3986446" cy="8771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700" dirty="0" smtClean="0"/>
              <a:t>Eliminates Duplication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700" dirty="0" smtClean="0"/>
              <a:t>Enables Code Reus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700" dirty="0"/>
              <a:t>Delivers New Solutions </a:t>
            </a:r>
            <a:r>
              <a:rPr lang="en-US" sz="1700" dirty="0" smtClean="0"/>
              <a:t>Faster</a:t>
            </a:r>
            <a:endParaRPr lang="en-US" sz="1700" dirty="0"/>
          </a:p>
        </p:txBody>
      </p:sp>
      <p:sp>
        <p:nvSpPr>
          <p:cNvPr id="41" name="TextBox 40"/>
          <p:cNvSpPr txBox="1"/>
          <p:nvPr/>
        </p:nvSpPr>
        <p:spPr>
          <a:xfrm>
            <a:off x="2303383" y="4569169"/>
            <a:ext cx="4065973" cy="11541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700" dirty="0" smtClean="0"/>
              <a:t>Supports Petabytes Of 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700" dirty="0" smtClean="0"/>
              <a:t>Supports Billions Of Devic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700" dirty="0" smtClean="0"/>
              <a:t>Supports Gbps ingestion &amp; acces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2" name="TextBox 41"/>
          <p:cNvSpPr txBox="1"/>
          <p:nvPr/>
        </p:nvSpPr>
        <p:spPr>
          <a:xfrm>
            <a:off x="7993914" y="3169194"/>
            <a:ext cx="4102956" cy="98541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700" dirty="0" smtClean="0"/>
              <a:t>Shifts Focus to Differenti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700" dirty="0" smtClean="0"/>
              <a:t>Reduces Development Cos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700" dirty="0" smtClean="0"/>
              <a:t>Fastens Time To Sal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3" name="TextBox 42"/>
          <p:cNvSpPr txBox="1"/>
          <p:nvPr/>
        </p:nvSpPr>
        <p:spPr>
          <a:xfrm>
            <a:off x="7993914" y="4593454"/>
            <a:ext cx="3978798" cy="98541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700" dirty="0" smtClean="0"/>
              <a:t>Standardizes through API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700" dirty="0" smtClean="0"/>
              <a:t>Enables Partner Eco-Syste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700" dirty="0" smtClean="0"/>
              <a:t>Enables Cross-Connected Offering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33110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0099" y="357191"/>
            <a:ext cx="9742395" cy="498475"/>
          </a:xfrm>
        </p:spPr>
        <p:txBody>
          <a:bodyPr/>
          <a:lstStyle/>
          <a:p>
            <a:r>
              <a:rPr lang="en-US" altLang="en-US" dirty="0">
                <a:latin typeface="Arial" charset="0"/>
                <a:cs typeface="Arial" charset="0"/>
              </a:rPr>
              <a:t>Honeywell </a:t>
            </a:r>
            <a:r>
              <a:rPr lang="en-US" altLang="en-US" dirty="0" smtClean="0">
                <a:latin typeface="Arial" charset="0"/>
                <a:cs typeface="Arial" charset="0"/>
              </a:rPr>
              <a:t>strategic vision of Industry 4.0 trends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pPr algn="l"/>
            <a:r>
              <a:rPr lang="en-US" sz="2000" dirty="0"/>
              <a:t>Innovation aligned to emerging industry trends and customer initiatives</a:t>
            </a:r>
          </a:p>
        </p:txBody>
      </p:sp>
      <p:sp>
        <p:nvSpPr>
          <p:cNvPr id="21" name="Rectangle 20"/>
          <p:cNvSpPr/>
          <p:nvPr/>
        </p:nvSpPr>
        <p:spPr>
          <a:xfrm>
            <a:off x="800099" y="4623979"/>
            <a:ext cx="10688365" cy="1414470"/>
          </a:xfrm>
          <a:prstGeom prst="rect">
            <a:avLst/>
          </a:prstGeom>
          <a:solidFill>
            <a:srgbClr val="FDFDFD"/>
          </a:solidFill>
          <a:ln w="12700">
            <a:solidFill>
              <a:schemeClr val="bg1">
                <a:lumMod val="75000"/>
              </a:schemeClr>
            </a:solidFill>
            <a:prstDash val="dash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 smtClean="0">
              <a:solidFill>
                <a:srgbClr val="606060"/>
              </a:solidFill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8013744" y="1083376"/>
            <a:ext cx="3474720" cy="2401381"/>
          </a:xfrm>
          <a:prstGeom prst="rect">
            <a:avLst/>
          </a:prstGeom>
          <a:solidFill>
            <a:srgbClr val="EFEFEF"/>
          </a:solidFill>
          <a:ln w="12700"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smtClean="0">
              <a:solidFill>
                <a:schemeClr val="accent3"/>
              </a:solidFill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4422417" y="1083376"/>
            <a:ext cx="3474720" cy="2401381"/>
          </a:xfrm>
          <a:prstGeom prst="rect">
            <a:avLst/>
          </a:prstGeom>
          <a:solidFill>
            <a:srgbClr val="EFEFEF"/>
          </a:solidFill>
          <a:ln w="12700"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smtClean="0">
              <a:solidFill>
                <a:schemeClr val="accent3"/>
              </a:solidFill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800100" y="1083376"/>
            <a:ext cx="3474720" cy="2401381"/>
          </a:xfrm>
          <a:prstGeom prst="rect">
            <a:avLst/>
          </a:prstGeom>
          <a:solidFill>
            <a:srgbClr val="EFEFEF"/>
          </a:solidFill>
          <a:ln w="12700"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smtClean="0">
              <a:solidFill>
                <a:schemeClr val="accent3"/>
              </a:solidFill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800100" y="1083377"/>
            <a:ext cx="3474720" cy="457200"/>
          </a:xfrm>
          <a:prstGeom prst="rect">
            <a:avLst/>
          </a:prstGeom>
          <a:solidFill>
            <a:srgbClr val="F1594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274320" rtlCol="0" anchor="ctr"/>
          <a:lstStyle/>
          <a:p>
            <a:pPr algn="ctr"/>
            <a:r>
              <a:rPr lang="en-US" b="1" dirty="0"/>
              <a:t>Smart Operations </a:t>
            </a:r>
          </a:p>
        </p:txBody>
      </p:sp>
      <p:sp>
        <p:nvSpPr>
          <p:cNvPr id="34" name="Rectangle 33"/>
          <p:cNvSpPr/>
          <p:nvPr/>
        </p:nvSpPr>
        <p:spPr>
          <a:xfrm>
            <a:off x="8013745" y="1083377"/>
            <a:ext cx="3474720" cy="457200"/>
          </a:xfrm>
          <a:prstGeom prst="rect">
            <a:avLst/>
          </a:prstGeom>
          <a:solidFill>
            <a:srgbClr val="F1594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5760" rtlCol="0" anchor="ctr"/>
          <a:lstStyle/>
          <a:p>
            <a:pPr algn="ctr"/>
            <a:r>
              <a:rPr lang="en-US" b="1" dirty="0"/>
              <a:t>CPS </a:t>
            </a:r>
            <a:r>
              <a:rPr lang="en-US" sz="1200" dirty="0"/>
              <a:t>(Connected Performance Services)</a:t>
            </a:r>
          </a:p>
        </p:txBody>
      </p:sp>
      <p:sp>
        <p:nvSpPr>
          <p:cNvPr id="37" name="Rectangle 36"/>
          <p:cNvSpPr/>
          <p:nvPr/>
        </p:nvSpPr>
        <p:spPr>
          <a:xfrm>
            <a:off x="4422417" y="1083377"/>
            <a:ext cx="3474720" cy="457200"/>
          </a:xfrm>
          <a:prstGeom prst="rect">
            <a:avLst/>
          </a:prstGeom>
          <a:solidFill>
            <a:srgbClr val="F1594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274320" rtlCol="0" anchor="ctr"/>
          <a:lstStyle/>
          <a:p>
            <a:pPr algn="ctr"/>
            <a:r>
              <a:rPr lang="en-US" b="1" dirty="0"/>
              <a:t>Digital Transformation</a:t>
            </a:r>
          </a:p>
        </p:txBody>
      </p:sp>
      <p:pic>
        <p:nvPicPr>
          <p:cNvPr id="38" name="Picture 3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76300" y="1186161"/>
            <a:ext cx="291573" cy="251632"/>
          </a:xfrm>
          <a:prstGeom prst="rect">
            <a:avLst/>
          </a:prstGeom>
        </p:spPr>
      </p:pic>
      <p:pic>
        <p:nvPicPr>
          <p:cNvPr id="39" name="Picture 3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02150" y="1186161"/>
            <a:ext cx="291573" cy="251632"/>
          </a:xfrm>
          <a:prstGeom prst="rect">
            <a:avLst/>
          </a:prstGeom>
        </p:spPr>
      </p:pic>
      <p:pic>
        <p:nvPicPr>
          <p:cNvPr id="40" name="Picture 3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90075" y="1186161"/>
            <a:ext cx="291573" cy="251632"/>
          </a:xfrm>
          <a:prstGeom prst="rect">
            <a:avLst/>
          </a:prstGeom>
        </p:spPr>
      </p:pic>
      <p:sp>
        <p:nvSpPr>
          <p:cNvPr id="41" name="Content Placeholder 3"/>
          <p:cNvSpPr txBox="1">
            <a:spLocks/>
          </p:cNvSpPr>
          <p:nvPr/>
        </p:nvSpPr>
        <p:spPr>
          <a:xfrm>
            <a:off x="899886" y="1614040"/>
            <a:ext cx="3374934" cy="150297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spcBef>
                <a:spcPct val="20000"/>
              </a:spcBef>
              <a:buClr>
                <a:schemeClr val="accent1"/>
              </a:buClr>
              <a:buFont typeface="Arial" charset="0"/>
              <a:buNone/>
              <a:defRPr sz="2400">
                <a:solidFill>
                  <a:srgbClr val="000000"/>
                </a:solidFill>
                <a:latin typeface="Arial" pitchFamily="34" charset="0"/>
                <a:ea typeface="Arial" charset="0"/>
                <a:cs typeface="Arial" pitchFamily="34" charset="0"/>
              </a:defRPr>
            </a:lvl1pPr>
            <a:lvl2pPr marL="627063" indent="-169863">
              <a:spcBef>
                <a:spcPct val="20000"/>
              </a:spcBef>
              <a:buClr>
                <a:schemeClr val="accent3"/>
              </a:buClr>
              <a:buFont typeface="Arial" charset="0"/>
              <a:buChar char="-"/>
              <a:defRPr>
                <a:latin typeface="Arial" pitchFamily="34" charset="0"/>
                <a:ea typeface="Arial" charset="0"/>
                <a:cs typeface="Arial" pitchFamily="34" charset="0"/>
              </a:defRPr>
            </a:lvl2pPr>
            <a:lvl3pPr marL="1084263" indent="-169863">
              <a:spcBef>
                <a:spcPct val="20000"/>
              </a:spcBef>
              <a:buClr>
                <a:schemeClr val="accent3"/>
              </a:buClr>
              <a:buSzPct val="90000"/>
              <a:buFont typeface="Wingdings" charset="2"/>
              <a:buChar char="§"/>
              <a:defRPr sz="1600">
                <a:latin typeface="Arial" pitchFamily="34" charset="0"/>
                <a:ea typeface="Arial" charset="0"/>
                <a:cs typeface="Arial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accent3"/>
              </a:buClr>
              <a:buFont typeface="Arial" panose="020B0604020202020204" pitchFamily="34" charset="0"/>
              <a:buChar char="-"/>
              <a:defRPr sz="1400">
                <a:latin typeface="Arial" panose="020B0604020202020204" pitchFamily="34" charset="0"/>
                <a:ea typeface="Helvetica Neue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accent3"/>
              </a:buClr>
              <a:buFont typeface="Arial" charset="0"/>
              <a:buChar char="»"/>
              <a:defRPr sz="1400">
                <a:latin typeface="Arial" panose="020B0604020202020204" pitchFamily="34" charset="0"/>
                <a:ea typeface="Helvetica Neue"/>
                <a:cs typeface="Arial" panose="020B0604020202020204" pitchFamily="34" charset="0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>
                <a:latin typeface="+mn-lt"/>
              </a:defRPr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>
                <a:latin typeface="+mn-lt"/>
              </a:defRPr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>
                <a:latin typeface="+mn-lt"/>
              </a:defRPr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>
                <a:latin typeface="+mn-lt"/>
              </a:defRPr>
            </a:lvl9pPr>
          </a:lstStyle>
          <a:p>
            <a:pPr>
              <a:lnSpc>
                <a:spcPts val="2200"/>
              </a:lnSpc>
            </a:pPr>
            <a:r>
              <a:rPr lang="en-US" sz="1600" dirty="0"/>
              <a:t>“Integrated Suites” </a:t>
            </a:r>
            <a:r>
              <a:rPr lang="en-US" sz="1600" dirty="0" smtClean="0"/>
              <a:t>and programmatic delivery methodology </a:t>
            </a:r>
            <a:r>
              <a:rPr lang="en-US" sz="1600" dirty="0"/>
              <a:t>to solve </a:t>
            </a:r>
            <a:r>
              <a:rPr lang="en-US" sz="1600" dirty="0" smtClean="0"/>
              <a:t>real customer </a:t>
            </a:r>
            <a:r>
              <a:rPr lang="en-US" sz="1600" dirty="0"/>
              <a:t>challenges at the </a:t>
            </a:r>
            <a:r>
              <a:rPr lang="en-US" sz="1600" b="1" dirty="0"/>
              <a:t>Enterprise </a:t>
            </a:r>
            <a:r>
              <a:rPr lang="en-US" sz="1600" b="1" dirty="0" smtClean="0"/>
              <a:t>level</a:t>
            </a:r>
            <a:r>
              <a:rPr lang="en-US" sz="1600" dirty="0" smtClean="0"/>
              <a:t>. </a:t>
            </a:r>
            <a:endParaRPr lang="en-US" sz="1600" dirty="0"/>
          </a:p>
        </p:txBody>
      </p:sp>
      <p:sp>
        <p:nvSpPr>
          <p:cNvPr id="42" name="Content Placeholder 3"/>
          <p:cNvSpPr txBox="1">
            <a:spLocks/>
          </p:cNvSpPr>
          <p:nvPr/>
        </p:nvSpPr>
        <p:spPr>
          <a:xfrm>
            <a:off x="4557486" y="1614040"/>
            <a:ext cx="3339650" cy="150297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spcBef>
                <a:spcPct val="20000"/>
              </a:spcBef>
              <a:buClr>
                <a:schemeClr val="accent1"/>
              </a:buClr>
              <a:buFont typeface="Arial" charset="0"/>
              <a:buNone/>
              <a:defRPr sz="2400">
                <a:solidFill>
                  <a:srgbClr val="000000"/>
                </a:solidFill>
                <a:latin typeface="Arial" pitchFamily="34" charset="0"/>
                <a:ea typeface="Arial" charset="0"/>
                <a:cs typeface="Arial" pitchFamily="34" charset="0"/>
              </a:defRPr>
            </a:lvl1pPr>
            <a:lvl2pPr marL="627063" indent="-169863">
              <a:spcBef>
                <a:spcPct val="20000"/>
              </a:spcBef>
              <a:buClr>
                <a:schemeClr val="accent3"/>
              </a:buClr>
              <a:buFont typeface="Arial" charset="0"/>
              <a:buChar char="-"/>
              <a:defRPr>
                <a:latin typeface="Arial" pitchFamily="34" charset="0"/>
                <a:ea typeface="Arial" charset="0"/>
                <a:cs typeface="Arial" pitchFamily="34" charset="0"/>
              </a:defRPr>
            </a:lvl2pPr>
            <a:lvl3pPr marL="1084263" indent="-169863">
              <a:spcBef>
                <a:spcPct val="20000"/>
              </a:spcBef>
              <a:buClr>
                <a:schemeClr val="accent3"/>
              </a:buClr>
              <a:buSzPct val="90000"/>
              <a:buFont typeface="Wingdings" charset="2"/>
              <a:buChar char="§"/>
              <a:defRPr sz="1600">
                <a:latin typeface="Arial" pitchFamily="34" charset="0"/>
                <a:ea typeface="Arial" charset="0"/>
                <a:cs typeface="Arial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accent3"/>
              </a:buClr>
              <a:buFont typeface="Arial" panose="020B0604020202020204" pitchFamily="34" charset="0"/>
              <a:buChar char="-"/>
              <a:defRPr sz="1400">
                <a:latin typeface="Arial" panose="020B0604020202020204" pitchFamily="34" charset="0"/>
                <a:ea typeface="Helvetica Neue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accent3"/>
              </a:buClr>
              <a:buFont typeface="Arial" charset="0"/>
              <a:buChar char="»"/>
              <a:defRPr sz="1400">
                <a:latin typeface="Arial" panose="020B0604020202020204" pitchFamily="34" charset="0"/>
                <a:ea typeface="Helvetica Neue"/>
                <a:cs typeface="Arial" panose="020B0604020202020204" pitchFamily="34" charset="0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>
                <a:latin typeface="+mn-lt"/>
              </a:defRPr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>
                <a:latin typeface="+mn-lt"/>
              </a:defRPr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>
                <a:latin typeface="+mn-lt"/>
              </a:defRPr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>
                <a:latin typeface="+mn-lt"/>
              </a:defRPr>
            </a:lvl9pPr>
          </a:lstStyle>
          <a:p>
            <a:pPr>
              <a:lnSpc>
                <a:spcPts val="2200"/>
              </a:lnSpc>
            </a:pPr>
            <a:r>
              <a:rPr lang="en-US" sz="1600" dirty="0"/>
              <a:t>Bring </a:t>
            </a:r>
            <a:r>
              <a:rPr lang="en-US" sz="1600" dirty="0" err="1"/>
              <a:t>IIoT</a:t>
            </a:r>
            <a:r>
              <a:rPr lang="en-US" sz="1600" dirty="0"/>
              <a:t> innovation to </a:t>
            </a:r>
            <a:r>
              <a:rPr lang="en-US" sz="1600" dirty="0" smtClean="0"/>
              <a:t>Solutions </a:t>
            </a:r>
            <a:r>
              <a:rPr lang="en-US" sz="1600" dirty="0"/>
              <a:t>with connectivity, analytics, cloud, &amp; mobility, for </a:t>
            </a:r>
            <a:r>
              <a:rPr lang="en-US" sz="1600" b="1" dirty="0"/>
              <a:t>new </a:t>
            </a:r>
            <a:r>
              <a:rPr lang="en-US" sz="1600" b="1" dirty="0" smtClean="0"/>
              <a:t>level of services </a:t>
            </a:r>
            <a:r>
              <a:rPr lang="en-US" sz="1600" dirty="0" smtClean="0"/>
              <a:t>and </a:t>
            </a:r>
            <a:r>
              <a:rPr lang="en-US" sz="1600" dirty="0"/>
              <a:t>adopt new business models</a:t>
            </a:r>
          </a:p>
        </p:txBody>
      </p:sp>
      <p:sp>
        <p:nvSpPr>
          <p:cNvPr id="43" name="Content Placeholder 3"/>
          <p:cNvSpPr txBox="1">
            <a:spLocks/>
          </p:cNvSpPr>
          <p:nvPr/>
        </p:nvSpPr>
        <p:spPr>
          <a:xfrm>
            <a:off x="8142513" y="1614040"/>
            <a:ext cx="3345951" cy="1374735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spcBef>
                <a:spcPct val="20000"/>
              </a:spcBef>
              <a:buClr>
                <a:schemeClr val="accent1"/>
              </a:buClr>
              <a:buFont typeface="Arial" charset="0"/>
              <a:buNone/>
              <a:defRPr sz="2400">
                <a:solidFill>
                  <a:srgbClr val="000000"/>
                </a:solidFill>
                <a:latin typeface="Arial" pitchFamily="34" charset="0"/>
                <a:ea typeface="Arial" charset="0"/>
                <a:cs typeface="Arial" pitchFamily="34" charset="0"/>
              </a:defRPr>
            </a:lvl1pPr>
            <a:lvl2pPr marL="627063" indent="-169863">
              <a:spcBef>
                <a:spcPct val="20000"/>
              </a:spcBef>
              <a:buClr>
                <a:schemeClr val="accent3"/>
              </a:buClr>
              <a:buFont typeface="Arial" charset="0"/>
              <a:buChar char="-"/>
              <a:defRPr>
                <a:latin typeface="Arial" pitchFamily="34" charset="0"/>
                <a:ea typeface="Arial" charset="0"/>
                <a:cs typeface="Arial" pitchFamily="34" charset="0"/>
              </a:defRPr>
            </a:lvl2pPr>
            <a:lvl3pPr marL="1084263" indent="-169863">
              <a:spcBef>
                <a:spcPct val="20000"/>
              </a:spcBef>
              <a:buClr>
                <a:schemeClr val="accent3"/>
              </a:buClr>
              <a:buSzPct val="90000"/>
              <a:buFont typeface="Wingdings" charset="2"/>
              <a:buChar char="§"/>
              <a:defRPr sz="1600">
                <a:latin typeface="Arial" pitchFamily="34" charset="0"/>
                <a:ea typeface="Arial" charset="0"/>
                <a:cs typeface="Arial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accent3"/>
              </a:buClr>
              <a:buFont typeface="Arial" panose="020B0604020202020204" pitchFamily="34" charset="0"/>
              <a:buChar char="-"/>
              <a:defRPr sz="1400">
                <a:latin typeface="Arial" panose="020B0604020202020204" pitchFamily="34" charset="0"/>
                <a:ea typeface="Helvetica Neue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accent3"/>
              </a:buClr>
              <a:buFont typeface="Arial" charset="0"/>
              <a:buChar char="»"/>
              <a:defRPr sz="1400">
                <a:latin typeface="Arial" panose="020B0604020202020204" pitchFamily="34" charset="0"/>
                <a:ea typeface="Helvetica Neue"/>
                <a:cs typeface="Arial" panose="020B0604020202020204" pitchFamily="34" charset="0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>
                <a:latin typeface="+mn-lt"/>
              </a:defRPr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>
                <a:latin typeface="+mn-lt"/>
              </a:defRPr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>
                <a:latin typeface="+mn-lt"/>
              </a:defRPr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>
                <a:latin typeface="+mn-lt"/>
              </a:defRPr>
            </a:lvl9pPr>
          </a:lstStyle>
          <a:p>
            <a:pPr>
              <a:lnSpc>
                <a:spcPts val="2000"/>
              </a:lnSpc>
            </a:pPr>
            <a:r>
              <a:rPr lang="en-US" sz="1600" dirty="0" smtClean="0"/>
              <a:t>Around-the-clock monitoring </a:t>
            </a:r>
            <a:r>
              <a:rPr lang="en-US" sz="1600" dirty="0"/>
              <a:t>of </a:t>
            </a:r>
            <a:r>
              <a:rPr lang="en-US" sz="1600" dirty="0" smtClean="0"/>
              <a:t>plant </a:t>
            </a:r>
            <a:r>
              <a:rPr lang="en-US" sz="1600" dirty="0"/>
              <a:t>data and rigorous simulations to analyze plant performance to </a:t>
            </a:r>
            <a:r>
              <a:rPr lang="en-US" sz="1600" b="1" dirty="0"/>
              <a:t>reveal full potential through a cloud-based service.</a:t>
            </a:r>
          </a:p>
        </p:txBody>
      </p:sp>
      <p:pic>
        <p:nvPicPr>
          <p:cNvPr id="58" name="Picture 57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5613" y="4768405"/>
            <a:ext cx="277710" cy="277710"/>
          </a:xfrm>
          <a:prstGeom prst="rect">
            <a:avLst/>
          </a:prstGeom>
        </p:spPr>
      </p:pic>
      <p:pic>
        <p:nvPicPr>
          <p:cNvPr id="59" name="Picture 58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5613" y="5453318"/>
            <a:ext cx="277710" cy="277710"/>
          </a:xfrm>
          <a:prstGeom prst="rect">
            <a:avLst/>
          </a:prstGeom>
        </p:spPr>
      </p:pic>
      <p:sp>
        <p:nvSpPr>
          <p:cNvPr id="60" name="Content Placeholder 3"/>
          <p:cNvSpPr txBox="1">
            <a:spLocks/>
          </p:cNvSpPr>
          <p:nvPr/>
        </p:nvSpPr>
        <p:spPr>
          <a:xfrm>
            <a:off x="1395629" y="4737983"/>
            <a:ext cx="9500971" cy="61555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spcBef>
                <a:spcPct val="20000"/>
              </a:spcBef>
              <a:buClr>
                <a:schemeClr val="accent1"/>
              </a:buClr>
              <a:buFont typeface="Arial" charset="0"/>
              <a:buNone/>
              <a:defRPr sz="2400">
                <a:solidFill>
                  <a:srgbClr val="000000"/>
                </a:solidFill>
                <a:latin typeface="Arial" pitchFamily="34" charset="0"/>
                <a:ea typeface="Arial" charset="0"/>
                <a:cs typeface="Arial" pitchFamily="34" charset="0"/>
              </a:defRPr>
            </a:lvl1pPr>
            <a:lvl2pPr marL="627063" indent="-169863">
              <a:spcBef>
                <a:spcPct val="20000"/>
              </a:spcBef>
              <a:buClr>
                <a:schemeClr val="accent3"/>
              </a:buClr>
              <a:buFont typeface="Arial" charset="0"/>
              <a:buChar char="-"/>
              <a:defRPr>
                <a:latin typeface="Arial" pitchFamily="34" charset="0"/>
                <a:ea typeface="Arial" charset="0"/>
                <a:cs typeface="Arial" pitchFamily="34" charset="0"/>
              </a:defRPr>
            </a:lvl2pPr>
            <a:lvl3pPr marL="1084263" indent="-169863">
              <a:spcBef>
                <a:spcPct val="20000"/>
              </a:spcBef>
              <a:buClr>
                <a:schemeClr val="accent3"/>
              </a:buClr>
              <a:buSzPct val="90000"/>
              <a:buFont typeface="Wingdings" charset="2"/>
              <a:buChar char="§"/>
              <a:defRPr sz="1600">
                <a:latin typeface="Arial" pitchFamily="34" charset="0"/>
                <a:ea typeface="Arial" charset="0"/>
                <a:cs typeface="Arial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accent3"/>
              </a:buClr>
              <a:buFont typeface="Arial" panose="020B0604020202020204" pitchFamily="34" charset="0"/>
              <a:buChar char="-"/>
              <a:defRPr sz="1400">
                <a:latin typeface="Arial" panose="020B0604020202020204" pitchFamily="34" charset="0"/>
                <a:ea typeface="Helvetica Neue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accent3"/>
              </a:buClr>
              <a:buFont typeface="Arial" charset="0"/>
              <a:buChar char="»"/>
              <a:defRPr sz="1400">
                <a:latin typeface="Arial" panose="020B0604020202020204" pitchFamily="34" charset="0"/>
                <a:ea typeface="Helvetica Neue"/>
                <a:cs typeface="Arial" panose="020B0604020202020204" pitchFamily="34" charset="0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>
                <a:latin typeface="+mn-lt"/>
              </a:defRPr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>
                <a:latin typeface="+mn-lt"/>
              </a:defRPr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>
                <a:latin typeface="+mn-lt"/>
              </a:defRPr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>
                <a:latin typeface="+mn-lt"/>
              </a:defRPr>
            </a:lvl9pPr>
          </a:lstStyle>
          <a:p>
            <a:pPr>
              <a:spcBef>
                <a:spcPts val="0"/>
              </a:spcBef>
            </a:pPr>
            <a:r>
              <a:rPr lang="en-US" sz="1700" dirty="0"/>
              <a:t>Enabled by Analytics, Mobility, Cloud, OEM Partners, </a:t>
            </a:r>
            <a:r>
              <a:rPr lang="en-US" sz="1700" dirty="0" smtClean="0"/>
              <a:t>Connectivity Delivered </a:t>
            </a:r>
            <a:r>
              <a:rPr lang="en-US" sz="1700" dirty="0"/>
              <a:t>on AS proven Software</a:t>
            </a:r>
          </a:p>
        </p:txBody>
      </p:sp>
      <p:sp>
        <p:nvSpPr>
          <p:cNvPr id="61" name="Content Placeholder 3"/>
          <p:cNvSpPr txBox="1">
            <a:spLocks/>
          </p:cNvSpPr>
          <p:nvPr/>
        </p:nvSpPr>
        <p:spPr>
          <a:xfrm>
            <a:off x="1395629" y="5422896"/>
            <a:ext cx="9323171" cy="61555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spcBef>
                <a:spcPct val="20000"/>
              </a:spcBef>
              <a:buClr>
                <a:schemeClr val="accent1"/>
              </a:buClr>
              <a:buFont typeface="Arial" charset="0"/>
              <a:buNone/>
              <a:defRPr sz="2400">
                <a:solidFill>
                  <a:srgbClr val="000000"/>
                </a:solidFill>
                <a:latin typeface="Arial" pitchFamily="34" charset="0"/>
                <a:ea typeface="Arial" charset="0"/>
                <a:cs typeface="Arial" pitchFamily="34" charset="0"/>
              </a:defRPr>
            </a:lvl1pPr>
            <a:lvl2pPr marL="627063" indent="-169863">
              <a:spcBef>
                <a:spcPct val="20000"/>
              </a:spcBef>
              <a:buClr>
                <a:schemeClr val="accent3"/>
              </a:buClr>
              <a:buFont typeface="Arial" charset="0"/>
              <a:buChar char="-"/>
              <a:defRPr>
                <a:latin typeface="Arial" pitchFamily="34" charset="0"/>
                <a:ea typeface="Arial" charset="0"/>
                <a:cs typeface="Arial" pitchFamily="34" charset="0"/>
              </a:defRPr>
            </a:lvl2pPr>
            <a:lvl3pPr marL="1084263" indent="-169863">
              <a:spcBef>
                <a:spcPct val="20000"/>
              </a:spcBef>
              <a:buClr>
                <a:schemeClr val="accent3"/>
              </a:buClr>
              <a:buSzPct val="90000"/>
              <a:buFont typeface="Wingdings" charset="2"/>
              <a:buChar char="§"/>
              <a:defRPr sz="1600">
                <a:latin typeface="Arial" pitchFamily="34" charset="0"/>
                <a:ea typeface="Arial" charset="0"/>
                <a:cs typeface="Arial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accent3"/>
              </a:buClr>
              <a:buFont typeface="Arial" panose="020B0604020202020204" pitchFamily="34" charset="0"/>
              <a:buChar char="-"/>
              <a:defRPr sz="1400">
                <a:latin typeface="Arial" panose="020B0604020202020204" pitchFamily="34" charset="0"/>
                <a:ea typeface="Helvetica Neue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accent3"/>
              </a:buClr>
              <a:buFont typeface="Arial" charset="0"/>
              <a:buChar char="»"/>
              <a:defRPr sz="1400">
                <a:latin typeface="Arial" panose="020B0604020202020204" pitchFamily="34" charset="0"/>
                <a:ea typeface="Helvetica Neue"/>
                <a:cs typeface="Arial" panose="020B0604020202020204" pitchFamily="34" charset="0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>
                <a:latin typeface="+mn-lt"/>
              </a:defRPr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>
                <a:latin typeface="+mn-lt"/>
              </a:defRPr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>
                <a:latin typeface="+mn-lt"/>
              </a:defRPr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>
                <a:latin typeface="+mn-lt"/>
              </a:defRPr>
            </a:lvl9pPr>
          </a:lstStyle>
          <a:p>
            <a:pPr>
              <a:spcBef>
                <a:spcPts val="0"/>
              </a:spcBef>
            </a:pPr>
            <a:r>
              <a:rPr lang="en-US" sz="1700" dirty="0"/>
              <a:t>Drive a software culture leveraging Honeywell unique capabilities, technologies, and domain knowledge</a:t>
            </a:r>
          </a:p>
        </p:txBody>
      </p:sp>
    </p:spTree>
    <p:extLst>
      <p:ext uri="{BB962C8B-B14F-4D97-AF65-F5344CB8AC3E}">
        <p14:creationId xmlns:p14="http://schemas.microsoft.com/office/powerpoint/2010/main" val="16709187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" name="Title 1"/>
          <p:cNvSpPr txBox="1">
            <a:spLocks/>
          </p:cNvSpPr>
          <p:nvPr/>
        </p:nvSpPr>
        <p:spPr>
          <a:xfrm>
            <a:off x="712788" y="357188"/>
            <a:ext cx="10509250" cy="498475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lang="en-US" sz="2800" b="1" kern="1200" dirty="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en-US" dirty="0" smtClean="0"/>
              <a:t>How Does </a:t>
            </a:r>
            <a:r>
              <a:rPr lang="en-US" dirty="0" err="1" smtClean="0"/>
              <a:t>IIoT</a:t>
            </a:r>
            <a:r>
              <a:rPr lang="en-US" dirty="0" smtClean="0"/>
              <a:t> Work?</a:t>
            </a:r>
            <a:endParaRPr lang="en-US" dirty="0"/>
          </a:p>
        </p:txBody>
      </p:sp>
      <p:sp>
        <p:nvSpPr>
          <p:cNvPr id="210" name="TextBox 209"/>
          <p:cNvSpPr txBox="1"/>
          <p:nvPr/>
        </p:nvSpPr>
        <p:spPr>
          <a:xfrm>
            <a:off x="1596791" y="2478322"/>
            <a:ext cx="264058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1600" kern="0" dirty="0">
                <a:solidFill>
                  <a:srgbClr val="000000"/>
                </a:solidFill>
                <a:latin typeface="Honeywell Sans" panose="02010503040101060203" pitchFamily="50" charset="0"/>
                <a:cs typeface="Arial" pitchFamily="34" charset="0"/>
              </a:rPr>
              <a:t>Organize and visualize data in asset context</a:t>
            </a:r>
          </a:p>
        </p:txBody>
      </p:sp>
      <p:sp>
        <p:nvSpPr>
          <p:cNvPr id="211" name="TextBox 210"/>
          <p:cNvSpPr txBox="1"/>
          <p:nvPr/>
        </p:nvSpPr>
        <p:spPr>
          <a:xfrm>
            <a:off x="3148755" y="1382474"/>
            <a:ext cx="335020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1600" kern="0" dirty="0">
                <a:solidFill>
                  <a:srgbClr val="000000"/>
                </a:solidFill>
                <a:latin typeface="Honeywell Sans" panose="02010503040101060203" pitchFamily="50" charset="0"/>
                <a:cs typeface="Arial" pitchFamily="34" charset="0"/>
              </a:rPr>
              <a:t>Apply powerful analytics to detect and predict issues</a:t>
            </a:r>
          </a:p>
        </p:txBody>
      </p:sp>
      <p:sp>
        <p:nvSpPr>
          <p:cNvPr id="212" name="TextBox 211"/>
          <p:cNvSpPr txBox="1"/>
          <p:nvPr/>
        </p:nvSpPr>
        <p:spPr>
          <a:xfrm>
            <a:off x="5574384" y="196837"/>
            <a:ext cx="5980974" cy="5109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  <a:tabLst>
                <a:tab pos="2690813" algn="l"/>
              </a:tabLst>
              <a:defRPr/>
            </a:pPr>
            <a:r>
              <a:rPr lang="en-US" b="1" kern="0" dirty="0">
                <a:solidFill>
                  <a:srgbClr val="000000"/>
                </a:solidFill>
                <a:latin typeface="Honeywell Sans" panose="02010503040101060203" pitchFamily="50" charset="0"/>
                <a:cs typeface="Arial" pitchFamily="34" charset="0"/>
              </a:rPr>
              <a:t>Enterprise Intelligence:  </a:t>
            </a:r>
            <a:r>
              <a:rPr lang="en-US" sz="1600" kern="0" dirty="0">
                <a:solidFill>
                  <a:srgbClr val="000000"/>
                </a:solidFill>
                <a:latin typeface="Honeywell Sans" panose="02010503040101060203" pitchFamily="50" charset="0"/>
                <a:cs typeface="Arial" pitchFamily="34" charset="0"/>
              </a:rPr>
              <a:t>Connect process intelligence to business KPIs across entire enterprise</a:t>
            </a:r>
          </a:p>
        </p:txBody>
      </p:sp>
      <p:sp>
        <p:nvSpPr>
          <p:cNvPr id="213" name="TextBox 212"/>
          <p:cNvSpPr txBox="1"/>
          <p:nvPr/>
        </p:nvSpPr>
        <p:spPr>
          <a:xfrm>
            <a:off x="2285626" y="3988398"/>
            <a:ext cx="266273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1600" kern="0" dirty="0">
                <a:solidFill>
                  <a:srgbClr val="000000"/>
                </a:solidFill>
                <a:latin typeface="Honeywell Sans" panose="02010503040101060203" pitchFamily="50" charset="0"/>
                <a:cs typeface="Arial" pitchFamily="34" charset="0"/>
              </a:rPr>
              <a:t>Capture real-time process and event data</a:t>
            </a:r>
          </a:p>
        </p:txBody>
      </p:sp>
      <p:sp>
        <p:nvSpPr>
          <p:cNvPr id="214" name="Oval 295"/>
          <p:cNvSpPr/>
          <p:nvPr/>
        </p:nvSpPr>
        <p:spPr>
          <a:xfrm rot="17324560">
            <a:off x="4578758" y="1610043"/>
            <a:ext cx="3885532" cy="3029997"/>
          </a:xfrm>
          <a:custGeom>
            <a:avLst/>
            <a:gdLst>
              <a:gd name="connsiteX0" fmla="*/ 0 w 5573442"/>
              <a:gd name="connsiteY0" fmla="*/ 2786721 h 5573442"/>
              <a:gd name="connsiteX1" fmla="*/ 2786721 w 5573442"/>
              <a:gd name="connsiteY1" fmla="*/ 0 h 5573442"/>
              <a:gd name="connsiteX2" fmla="*/ 5573442 w 5573442"/>
              <a:gd name="connsiteY2" fmla="*/ 2786721 h 5573442"/>
              <a:gd name="connsiteX3" fmla="*/ 2786721 w 5573442"/>
              <a:gd name="connsiteY3" fmla="*/ 5573442 h 5573442"/>
              <a:gd name="connsiteX4" fmla="*/ 0 w 5573442"/>
              <a:gd name="connsiteY4" fmla="*/ 2786721 h 5573442"/>
              <a:gd name="connsiteX0" fmla="*/ 0 w 5573442"/>
              <a:gd name="connsiteY0" fmla="*/ 2786721 h 5573442"/>
              <a:gd name="connsiteX1" fmla="*/ 2786721 w 5573442"/>
              <a:gd name="connsiteY1" fmla="*/ 0 h 5573442"/>
              <a:gd name="connsiteX2" fmla="*/ 5573442 w 5573442"/>
              <a:gd name="connsiteY2" fmla="*/ 2786721 h 5573442"/>
              <a:gd name="connsiteX3" fmla="*/ 2786721 w 5573442"/>
              <a:gd name="connsiteY3" fmla="*/ 5573442 h 5573442"/>
              <a:gd name="connsiteX4" fmla="*/ 91440 w 5573442"/>
              <a:gd name="connsiteY4" fmla="*/ 2878161 h 5573442"/>
              <a:gd name="connsiteX0" fmla="*/ 0 w 5573442"/>
              <a:gd name="connsiteY0" fmla="*/ 2786721 h 5573442"/>
              <a:gd name="connsiteX1" fmla="*/ 2786721 w 5573442"/>
              <a:gd name="connsiteY1" fmla="*/ 0 h 5573442"/>
              <a:gd name="connsiteX2" fmla="*/ 5573442 w 5573442"/>
              <a:gd name="connsiteY2" fmla="*/ 2786721 h 5573442"/>
              <a:gd name="connsiteX3" fmla="*/ 2786721 w 5573442"/>
              <a:gd name="connsiteY3" fmla="*/ 5573442 h 5573442"/>
              <a:gd name="connsiteX0" fmla="*/ 0 w 2786721"/>
              <a:gd name="connsiteY0" fmla="*/ 0 h 5573442"/>
              <a:gd name="connsiteX1" fmla="*/ 2786721 w 2786721"/>
              <a:gd name="connsiteY1" fmla="*/ 2786721 h 5573442"/>
              <a:gd name="connsiteX2" fmla="*/ 0 w 2786721"/>
              <a:gd name="connsiteY2" fmla="*/ 5573442 h 5573442"/>
              <a:gd name="connsiteX0" fmla="*/ 2786721 w 2786721"/>
              <a:gd name="connsiteY0" fmla="*/ 0 h 2786721"/>
              <a:gd name="connsiteX1" fmla="*/ 0 w 2786721"/>
              <a:gd name="connsiteY1" fmla="*/ 2786721 h 2786721"/>
              <a:gd name="connsiteX0" fmla="*/ 2786721 w 2786721"/>
              <a:gd name="connsiteY0" fmla="*/ 0 h 2786721"/>
              <a:gd name="connsiteX1" fmla="*/ 0 w 2786721"/>
              <a:gd name="connsiteY1" fmla="*/ 2786721 h 2786721"/>
              <a:gd name="connsiteX0" fmla="*/ 2741383 w 2741383"/>
              <a:gd name="connsiteY0" fmla="*/ 0 h 2749859"/>
              <a:gd name="connsiteX1" fmla="*/ 0 w 2741383"/>
              <a:gd name="connsiteY1" fmla="*/ 2749859 h 2749859"/>
              <a:gd name="connsiteX0" fmla="*/ 2741383 w 2741383"/>
              <a:gd name="connsiteY0" fmla="*/ 0 h 2749859"/>
              <a:gd name="connsiteX1" fmla="*/ 0 w 2741383"/>
              <a:gd name="connsiteY1" fmla="*/ 2749859 h 2749859"/>
              <a:gd name="connsiteX0" fmla="*/ 2866458 w 2866458"/>
              <a:gd name="connsiteY0" fmla="*/ 0 h 2750648"/>
              <a:gd name="connsiteX1" fmla="*/ 0 w 2866458"/>
              <a:gd name="connsiteY1" fmla="*/ 2750648 h 2750648"/>
              <a:gd name="connsiteX0" fmla="*/ 2866458 w 2866458"/>
              <a:gd name="connsiteY0" fmla="*/ 0 h 2750648"/>
              <a:gd name="connsiteX1" fmla="*/ 0 w 2866458"/>
              <a:gd name="connsiteY1" fmla="*/ 2750648 h 2750648"/>
              <a:gd name="connsiteX0" fmla="*/ 2933712 w 2933712"/>
              <a:gd name="connsiteY0" fmla="*/ 0 h 2757153"/>
              <a:gd name="connsiteX1" fmla="*/ 0 w 2933712"/>
              <a:gd name="connsiteY1" fmla="*/ 2757153 h 2757153"/>
              <a:gd name="connsiteX0" fmla="*/ 2933712 w 2933712"/>
              <a:gd name="connsiteY0" fmla="*/ 0 h 2757153"/>
              <a:gd name="connsiteX1" fmla="*/ 0 w 2933712"/>
              <a:gd name="connsiteY1" fmla="*/ 2757153 h 2757153"/>
              <a:gd name="connsiteX0" fmla="*/ 2933712 w 2933712"/>
              <a:gd name="connsiteY0" fmla="*/ 0 h 2757153"/>
              <a:gd name="connsiteX1" fmla="*/ 0 w 2933712"/>
              <a:gd name="connsiteY1" fmla="*/ 2757153 h 2757153"/>
              <a:gd name="connsiteX0" fmla="*/ 2897673 w 2897673"/>
              <a:gd name="connsiteY0" fmla="*/ 0 h 2865174"/>
              <a:gd name="connsiteX1" fmla="*/ 0 w 2897673"/>
              <a:gd name="connsiteY1" fmla="*/ 2865174 h 2865174"/>
              <a:gd name="connsiteX0" fmla="*/ 2897673 w 2897673"/>
              <a:gd name="connsiteY0" fmla="*/ 0 h 2865174"/>
              <a:gd name="connsiteX1" fmla="*/ 0 w 2897673"/>
              <a:gd name="connsiteY1" fmla="*/ 2865174 h 2865174"/>
              <a:gd name="connsiteX0" fmla="*/ 3145584 w 3145584"/>
              <a:gd name="connsiteY0" fmla="*/ 0 h 2264117"/>
              <a:gd name="connsiteX1" fmla="*/ 0 w 3145584"/>
              <a:gd name="connsiteY1" fmla="*/ 2264117 h 2264117"/>
              <a:gd name="connsiteX0" fmla="*/ 3145584 w 3145584"/>
              <a:gd name="connsiteY0" fmla="*/ 0 h 2494705"/>
              <a:gd name="connsiteX1" fmla="*/ 0 w 3145584"/>
              <a:gd name="connsiteY1" fmla="*/ 2264117 h 24947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145584" h="2494705">
                <a:moveTo>
                  <a:pt x="3145584" y="0"/>
                </a:moveTo>
                <a:cubicBezTo>
                  <a:pt x="2823389" y="2374455"/>
                  <a:pt x="1440876" y="2857748"/>
                  <a:pt x="0" y="2264117"/>
                </a:cubicBezTo>
              </a:path>
            </a:pathLst>
          </a:custGeom>
          <a:noFill/>
          <a:ln w="28575" cap="rnd">
            <a:solidFill>
              <a:schemeClr val="accent3">
                <a:lumMod val="60000"/>
                <a:lumOff val="40000"/>
              </a:schemeClr>
            </a:solidFill>
            <a:prstDash val="sysDash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20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15" name="Oval 295"/>
          <p:cNvSpPr/>
          <p:nvPr/>
        </p:nvSpPr>
        <p:spPr>
          <a:xfrm rot="17324560">
            <a:off x="5236858" y="1004616"/>
            <a:ext cx="4018430" cy="4579811"/>
          </a:xfrm>
          <a:custGeom>
            <a:avLst/>
            <a:gdLst>
              <a:gd name="connsiteX0" fmla="*/ 0 w 5573442"/>
              <a:gd name="connsiteY0" fmla="*/ 2786721 h 5573442"/>
              <a:gd name="connsiteX1" fmla="*/ 2786721 w 5573442"/>
              <a:gd name="connsiteY1" fmla="*/ 0 h 5573442"/>
              <a:gd name="connsiteX2" fmla="*/ 5573442 w 5573442"/>
              <a:gd name="connsiteY2" fmla="*/ 2786721 h 5573442"/>
              <a:gd name="connsiteX3" fmla="*/ 2786721 w 5573442"/>
              <a:gd name="connsiteY3" fmla="*/ 5573442 h 5573442"/>
              <a:gd name="connsiteX4" fmla="*/ 0 w 5573442"/>
              <a:gd name="connsiteY4" fmla="*/ 2786721 h 5573442"/>
              <a:gd name="connsiteX0" fmla="*/ 0 w 5573442"/>
              <a:gd name="connsiteY0" fmla="*/ 2786721 h 5573442"/>
              <a:gd name="connsiteX1" fmla="*/ 2786721 w 5573442"/>
              <a:gd name="connsiteY1" fmla="*/ 0 h 5573442"/>
              <a:gd name="connsiteX2" fmla="*/ 5573442 w 5573442"/>
              <a:gd name="connsiteY2" fmla="*/ 2786721 h 5573442"/>
              <a:gd name="connsiteX3" fmla="*/ 2786721 w 5573442"/>
              <a:gd name="connsiteY3" fmla="*/ 5573442 h 5573442"/>
              <a:gd name="connsiteX4" fmla="*/ 91440 w 5573442"/>
              <a:gd name="connsiteY4" fmla="*/ 2878161 h 5573442"/>
              <a:gd name="connsiteX0" fmla="*/ 0 w 5573442"/>
              <a:gd name="connsiteY0" fmla="*/ 2786721 h 5573442"/>
              <a:gd name="connsiteX1" fmla="*/ 2786721 w 5573442"/>
              <a:gd name="connsiteY1" fmla="*/ 0 h 5573442"/>
              <a:gd name="connsiteX2" fmla="*/ 5573442 w 5573442"/>
              <a:gd name="connsiteY2" fmla="*/ 2786721 h 5573442"/>
              <a:gd name="connsiteX3" fmla="*/ 2786721 w 5573442"/>
              <a:gd name="connsiteY3" fmla="*/ 5573442 h 5573442"/>
              <a:gd name="connsiteX0" fmla="*/ 0 w 2786721"/>
              <a:gd name="connsiteY0" fmla="*/ 0 h 5573442"/>
              <a:gd name="connsiteX1" fmla="*/ 2786721 w 2786721"/>
              <a:gd name="connsiteY1" fmla="*/ 2786721 h 5573442"/>
              <a:gd name="connsiteX2" fmla="*/ 0 w 2786721"/>
              <a:gd name="connsiteY2" fmla="*/ 5573442 h 5573442"/>
              <a:gd name="connsiteX0" fmla="*/ 2786721 w 2786721"/>
              <a:gd name="connsiteY0" fmla="*/ 0 h 2786721"/>
              <a:gd name="connsiteX1" fmla="*/ 0 w 2786721"/>
              <a:gd name="connsiteY1" fmla="*/ 2786721 h 2786721"/>
              <a:gd name="connsiteX0" fmla="*/ 2612130 w 2612130"/>
              <a:gd name="connsiteY0" fmla="*/ 0 h 3778810"/>
              <a:gd name="connsiteX1" fmla="*/ 0 w 2612130"/>
              <a:gd name="connsiteY1" fmla="*/ 3778810 h 3778810"/>
              <a:gd name="connsiteX0" fmla="*/ 2569728 w 2569728"/>
              <a:gd name="connsiteY0" fmla="*/ 0 h 4147120"/>
              <a:gd name="connsiteX1" fmla="*/ 0 w 2569728"/>
              <a:gd name="connsiteY1" fmla="*/ 4147120 h 4147120"/>
              <a:gd name="connsiteX0" fmla="*/ 2569728 w 2664153"/>
              <a:gd name="connsiteY0" fmla="*/ 0 h 4147120"/>
              <a:gd name="connsiteX1" fmla="*/ 0 w 2664153"/>
              <a:gd name="connsiteY1" fmla="*/ 4147120 h 4147120"/>
              <a:gd name="connsiteX0" fmla="*/ 2629165 w 2720885"/>
              <a:gd name="connsiteY0" fmla="*/ 0 h 3719832"/>
              <a:gd name="connsiteX1" fmla="*/ 0 w 2720885"/>
              <a:gd name="connsiteY1" fmla="*/ 3719832 h 3719832"/>
              <a:gd name="connsiteX0" fmla="*/ 2629165 w 2721005"/>
              <a:gd name="connsiteY0" fmla="*/ 0 h 3869379"/>
              <a:gd name="connsiteX1" fmla="*/ 0 w 2721005"/>
              <a:gd name="connsiteY1" fmla="*/ 3719832 h 3869379"/>
              <a:gd name="connsiteX0" fmla="*/ 2629165 w 2801779"/>
              <a:gd name="connsiteY0" fmla="*/ 0 h 3896282"/>
              <a:gd name="connsiteX1" fmla="*/ 0 w 2801779"/>
              <a:gd name="connsiteY1" fmla="*/ 3719832 h 3896282"/>
              <a:gd name="connsiteX0" fmla="*/ 2558459 w 2735989"/>
              <a:gd name="connsiteY0" fmla="*/ 0 h 4146428"/>
              <a:gd name="connsiteX1" fmla="*/ 0 w 2735989"/>
              <a:gd name="connsiteY1" fmla="*/ 3992303 h 4146428"/>
              <a:gd name="connsiteX0" fmla="*/ 2558459 w 2724591"/>
              <a:gd name="connsiteY0" fmla="*/ 0 h 3992303"/>
              <a:gd name="connsiteX1" fmla="*/ 0 w 2724591"/>
              <a:gd name="connsiteY1" fmla="*/ 3992303 h 3992303"/>
              <a:gd name="connsiteX0" fmla="*/ 2477255 w 2648678"/>
              <a:gd name="connsiteY0" fmla="*/ 0 h 4244512"/>
              <a:gd name="connsiteX1" fmla="*/ 0 w 2648678"/>
              <a:gd name="connsiteY1" fmla="*/ 4244512 h 4244512"/>
              <a:gd name="connsiteX0" fmla="*/ 2477255 w 2645683"/>
              <a:gd name="connsiteY0" fmla="*/ 0 h 4244512"/>
              <a:gd name="connsiteX1" fmla="*/ 0 w 2645683"/>
              <a:gd name="connsiteY1" fmla="*/ 4244512 h 4244512"/>
              <a:gd name="connsiteX0" fmla="*/ 2477255 w 2526837"/>
              <a:gd name="connsiteY0" fmla="*/ 0 h 4244512"/>
              <a:gd name="connsiteX1" fmla="*/ 0 w 2526837"/>
              <a:gd name="connsiteY1" fmla="*/ 4244512 h 4244512"/>
              <a:gd name="connsiteX0" fmla="*/ 3165132 w 3201123"/>
              <a:gd name="connsiteY0" fmla="*/ 0 h 2413632"/>
              <a:gd name="connsiteX1" fmla="*/ 0 w 3201123"/>
              <a:gd name="connsiteY1" fmla="*/ 2315429 h 2413632"/>
              <a:gd name="connsiteX0" fmla="*/ 3165132 w 3216893"/>
              <a:gd name="connsiteY0" fmla="*/ 0 h 3717511"/>
              <a:gd name="connsiteX1" fmla="*/ 0 w 3216893"/>
              <a:gd name="connsiteY1" fmla="*/ 2315429 h 3717511"/>
              <a:gd name="connsiteX0" fmla="*/ 3165132 w 3305582"/>
              <a:gd name="connsiteY0" fmla="*/ 0 h 3783494"/>
              <a:gd name="connsiteX1" fmla="*/ 0 w 3305582"/>
              <a:gd name="connsiteY1" fmla="*/ 2315429 h 3783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305582" h="3783494">
                <a:moveTo>
                  <a:pt x="3165132" y="0"/>
                </a:moveTo>
                <a:cubicBezTo>
                  <a:pt x="3816389" y="3696353"/>
                  <a:pt x="2107799" y="5101412"/>
                  <a:pt x="0" y="2315429"/>
                </a:cubicBezTo>
              </a:path>
            </a:pathLst>
          </a:custGeom>
          <a:noFill/>
          <a:ln w="28575" cap="rnd">
            <a:solidFill>
              <a:schemeClr val="accent3">
                <a:lumMod val="60000"/>
                <a:lumOff val="40000"/>
              </a:schemeClr>
            </a:solidFill>
            <a:prstDash val="sysDash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20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16" name="Oval 295"/>
          <p:cNvSpPr/>
          <p:nvPr/>
        </p:nvSpPr>
        <p:spPr>
          <a:xfrm rot="17324560">
            <a:off x="5854112" y="298681"/>
            <a:ext cx="4420457" cy="6127877"/>
          </a:xfrm>
          <a:custGeom>
            <a:avLst/>
            <a:gdLst>
              <a:gd name="connsiteX0" fmla="*/ 0 w 5573442"/>
              <a:gd name="connsiteY0" fmla="*/ 2786721 h 5573442"/>
              <a:gd name="connsiteX1" fmla="*/ 2786721 w 5573442"/>
              <a:gd name="connsiteY1" fmla="*/ 0 h 5573442"/>
              <a:gd name="connsiteX2" fmla="*/ 5573442 w 5573442"/>
              <a:gd name="connsiteY2" fmla="*/ 2786721 h 5573442"/>
              <a:gd name="connsiteX3" fmla="*/ 2786721 w 5573442"/>
              <a:gd name="connsiteY3" fmla="*/ 5573442 h 5573442"/>
              <a:gd name="connsiteX4" fmla="*/ 0 w 5573442"/>
              <a:gd name="connsiteY4" fmla="*/ 2786721 h 5573442"/>
              <a:gd name="connsiteX0" fmla="*/ 0 w 5573442"/>
              <a:gd name="connsiteY0" fmla="*/ 2786721 h 5573442"/>
              <a:gd name="connsiteX1" fmla="*/ 2786721 w 5573442"/>
              <a:gd name="connsiteY1" fmla="*/ 0 h 5573442"/>
              <a:gd name="connsiteX2" fmla="*/ 5573442 w 5573442"/>
              <a:gd name="connsiteY2" fmla="*/ 2786721 h 5573442"/>
              <a:gd name="connsiteX3" fmla="*/ 2786721 w 5573442"/>
              <a:gd name="connsiteY3" fmla="*/ 5573442 h 5573442"/>
              <a:gd name="connsiteX4" fmla="*/ 91440 w 5573442"/>
              <a:gd name="connsiteY4" fmla="*/ 2878161 h 5573442"/>
              <a:gd name="connsiteX0" fmla="*/ 0 w 5573442"/>
              <a:gd name="connsiteY0" fmla="*/ 2786721 h 5573442"/>
              <a:gd name="connsiteX1" fmla="*/ 2786721 w 5573442"/>
              <a:gd name="connsiteY1" fmla="*/ 0 h 5573442"/>
              <a:gd name="connsiteX2" fmla="*/ 5573442 w 5573442"/>
              <a:gd name="connsiteY2" fmla="*/ 2786721 h 5573442"/>
              <a:gd name="connsiteX3" fmla="*/ 2786721 w 5573442"/>
              <a:gd name="connsiteY3" fmla="*/ 5573442 h 5573442"/>
              <a:gd name="connsiteX0" fmla="*/ 0 w 2786721"/>
              <a:gd name="connsiteY0" fmla="*/ 0 h 5573442"/>
              <a:gd name="connsiteX1" fmla="*/ 2786721 w 2786721"/>
              <a:gd name="connsiteY1" fmla="*/ 2786721 h 5573442"/>
              <a:gd name="connsiteX2" fmla="*/ 0 w 2786721"/>
              <a:gd name="connsiteY2" fmla="*/ 5573442 h 5573442"/>
              <a:gd name="connsiteX0" fmla="*/ 2786721 w 2786721"/>
              <a:gd name="connsiteY0" fmla="*/ 0 h 2786721"/>
              <a:gd name="connsiteX1" fmla="*/ 0 w 2786721"/>
              <a:gd name="connsiteY1" fmla="*/ 2786721 h 2786721"/>
              <a:gd name="connsiteX0" fmla="*/ 2612130 w 2612130"/>
              <a:gd name="connsiteY0" fmla="*/ 0 h 3778810"/>
              <a:gd name="connsiteX1" fmla="*/ 0 w 2612130"/>
              <a:gd name="connsiteY1" fmla="*/ 3778810 h 3778810"/>
              <a:gd name="connsiteX0" fmla="*/ 2569728 w 2569728"/>
              <a:gd name="connsiteY0" fmla="*/ 0 h 4147120"/>
              <a:gd name="connsiteX1" fmla="*/ 0 w 2569728"/>
              <a:gd name="connsiteY1" fmla="*/ 4147120 h 4147120"/>
              <a:gd name="connsiteX0" fmla="*/ 2569728 w 2664153"/>
              <a:gd name="connsiteY0" fmla="*/ 0 h 4147120"/>
              <a:gd name="connsiteX1" fmla="*/ 0 w 2664153"/>
              <a:gd name="connsiteY1" fmla="*/ 4147120 h 4147120"/>
              <a:gd name="connsiteX0" fmla="*/ 2629165 w 2720885"/>
              <a:gd name="connsiteY0" fmla="*/ 0 h 3719832"/>
              <a:gd name="connsiteX1" fmla="*/ 0 w 2720885"/>
              <a:gd name="connsiteY1" fmla="*/ 3719832 h 3719832"/>
              <a:gd name="connsiteX0" fmla="*/ 2629165 w 2721005"/>
              <a:gd name="connsiteY0" fmla="*/ 0 h 3869379"/>
              <a:gd name="connsiteX1" fmla="*/ 0 w 2721005"/>
              <a:gd name="connsiteY1" fmla="*/ 3719832 h 3869379"/>
              <a:gd name="connsiteX0" fmla="*/ 2629165 w 2801779"/>
              <a:gd name="connsiteY0" fmla="*/ 0 h 3896282"/>
              <a:gd name="connsiteX1" fmla="*/ 0 w 2801779"/>
              <a:gd name="connsiteY1" fmla="*/ 3719832 h 3896282"/>
              <a:gd name="connsiteX0" fmla="*/ 2558459 w 2735989"/>
              <a:gd name="connsiteY0" fmla="*/ 0 h 4146428"/>
              <a:gd name="connsiteX1" fmla="*/ 0 w 2735989"/>
              <a:gd name="connsiteY1" fmla="*/ 3992303 h 4146428"/>
              <a:gd name="connsiteX0" fmla="*/ 2558459 w 2724591"/>
              <a:gd name="connsiteY0" fmla="*/ 0 h 3992303"/>
              <a:gd name="connsiteX1" fmla="*/ 0 w 2724591"/>
              <a:gd name="connsiteY1" fmla="*/ 3992303 h 3992303"/>
              <a:gd name="connsiteX0" fmla="*/ 2351330 w 2531623"/>
              <a:gd name="connsiteY0" fmla="*/ 0 h 5290867"/>
              <a:gd name="connsiteX1" fmla="*/ 0 w 2531623"/>
              <a:gd name="connsiteY1" fmla="*/ 5290867 h 5290867"/>
              <a:gd name="connsiteX0" fmla="*/ 2351330 w 2691315"/>
              <a:gd name="connsiteY0" fmla="*/ 0 h 5299759"/>
              <a:gd name="connsiteX1" fmla="*/ 0 w 2691315"/>
              <a:gd name="connsiteY1" fmla="*/ 5290867 h 5299759"/>
              <a:gd name="connsiteX0" fmla="*/ 2351330 w 2691315"/>
              <a:gd name="connsiteY0" fmla="*/ 0 h 5299759"/>
              <a:gd name="connsiteX1" fmla="*/ 0 w 2691315"/>
              <a:gd name="connsiteY1" fmla="*/ 5290867 h 5299759"/>
              <a:gd name="connsiteX0" fmla="*/ 2351330 w 2651329"/>
              <a:gd name="connsiteY0" fmla="*/ 0 h 5435793"/>
              <a:gd name="connsiteX1" fmla="*/ 0 w 2651329"/>
              <a:gd name="connsiteY1" fmla="*/ 5290867 h 5435793"/>
              <a:gd name="connsiteX0" fmla="*/ 2298818 w 2603283"/>
              <a:gd name="connsiteY0" fmla="*/ 0 h 5401369"/>
              <a:gd name="connsiteX1" fmla="*/ 0 w 2603283"/>
              <a:gd name="connsiteY1" fmla="*/ 5251145 h 5401369"/>
              <a:gd name="connsiteX0" fmla="*/ 2298818 w 2718551"/>
              <a:gd name="connsiteY0" fmla="*/ 0 h 5445718"/>
              <a:gd name="connsiteX1" fmla="*/ 0 w 2718551"/>
              <a:gd name="connsiteY1" fmla="*/ 5251145 h 5445718"/>
              <a:gd name="connsiteX0" fmla="*/ 2260136 w 2683895"/>
              <a:gd name="connsiteY0" fmla="*/ 0 h 5511090"/>
              <a:gd name="connsiteX1" fmla="*/ 0 w 2683895"/>
              <a:gd name="connsiteY1" fmla="*/ 5329681 h 5511090"/>
              <a:gd name="connsiteX0" fmla="*/ 2260136 w 2679625"/>
              <a:gd name="connsiteY0" fmla="*/ 0 h 5388714"/>
              <a:gd name="connsiteX1" fmla="*/ 0 w 2679625"/>
              <a:gd name="connsiteY1" fmla="*/ 5329681 h 5388714"/>
              <a:gd name="connsiteX0" fmla="*/ 2196053 w 2622250"/>
              <a:gd name="connsiteY0" fmla="*/ 0 h 5691011"/>
              <a:gd name="connsiteX1" fmla="*/ 0 w 2622250"/>
              <a:gd name="connsiteY1" fmla="*/ 5667218 h 5691011"/>
              <a:gd name="connsiteX0" fmla="*/ 2196053 w 2613242"/>
              <a:gd name="connsiteY0" fmla="*/ 0 h 5667218"/>
              <a:gd name="connsiteX1" fmla="*/ 0 w 2613242"/>
              <a:gd name="connsiteY1" fmla="*/ 5667218 h 5667218"/>
              <a:gd name="connsiteX0" fmla="*/ 2196053 w 2470277"/>
              <a:gd name="connsiteY0" fmla="*/ 0 h 5667218"/>
              <a:gd name="connsiteX1" fmla="*/ 0 w 2470277"/>
              <a:gd name="connsiteY1" fmla="*/ 5667218 h 5667218"/>
              <a:gd name="connsiteX0" fmla="*/ 2127559 w 2407408"/>
              <a:gd name="connsiteY0" fmla="*/ 0 h 5875428"/>
              <a:gd name="connsiteX1" fmla="*/ 0 w 2407408"/>
              <a:gd name="connsiteY1" fmla="*/ 5875428 h 5875428"/>
              <a:gd name="connsiteX0" fmla="*/ 2127559 w 2452010"/>
              <a:gd name="connsiteY0" fmla="*/ 0 h 5875428"/>
              <a:gd name="connsiteX1" fmla="*/ 0 w 2452010"/>
              <a:gd name="connsiteY1" fmla="*/ 5875428 h 5875428"/>
              <a:gd name="connsiteX0" fmla="*/ 2127694 w 2452130"/>
              <a:gd name="connsiteY0" fmla="*/ 0 h 5846043"/>
              <a:gd name="connsiteX1" fmla="*/ 0 w 2452130"/>
              <a:gd name="connsiteY1" fmla="*/ 5846043 h 5846043"/>
              <a:gd name="connsiteX0" fmla="*/ 2127694 w 2291641"/>
              <a:gd name="connsiteY0" fmla="*/ 0 h 5846043"/>
              <a:gd name="connsiteX1" fmla="*/ 0 w 2291641"/>
              <a:gd name="connsiteY1" fmla="*/ 5846043 h 5846043"/>
              <a:gd name="connsiteX0" fmla="*/ 2127694 w 2228938"/>
              <a:gd name="connsiteY0" fmla="*/ 0 h 5846043"/>
              <a:gd name="connsiteX1" fmla="*/ 0 w 2228938"/>
              <a:gd name="connsiteY1" fmla="*/ 5846043 h 5846043"/>
              <a:gd name="connsiteX0" fmla="*/ 2127694 w 2228058"/>
              <a:gd name="connsiteY0" fmla="*/ 0 h 5846043"/>
              <a:gd name="connsiteX1" fmla="*/ 0 w 2228058"/>
              <a:gd name="connsiteY1" fmla="*/ 5846043 h 5846043"/>
              <a:gd name="connsiteX0" fmla="*/ 2067899 w 2171637"/>
              <a:gd name="connsiteY0" fmla="*/ 0 h 5792771"/>
              <a:gd name="connsiteX1" fmla="*/ 0 w 2171637"/>
              <a:gd name="connsiteY1" fmla="*/ 5792771 h 5792771"/>
              <a:gd name="connsiteX0" fmla="*/ 2067899 w 2293872"/>
              <a:gd name="connsiteY0" fmla="*/ 0 h 5792771"/>
              <a:gd name="connsiteX1" fmla="*/ 0 w 2293872"/>
              <a:gd name="connsiteY1" fmla="*/ 5792771 h 5792771"/>
              <a:gd name="connsiteX0" fmla="*/ 2006043 w 2237913"/>
              <a:gd name="connsiteY0" fmla="*/ 0 h 5741077"/>
              <a:gd name="connsiteX1" fmla="*/ 0 w 2237913"/>
              <a:gd name="connsiteY1" fmla="*/ 5741077 h 5741077"/>
              <a:gd name="connsiteX0" fmla="*/ 2006043 w 2237028"/>
              <a:gd name="connsiteY0" fmla="*/ 0 h 5741077"/>
              <a:gd name="connsiteX1" fmla="*/ 0 w 2237028"/>
              <a:gd name="connsiteY1" fmla="*/ 5741077 h 5741077"/>
              <a:gd name="connsiteX0" fmla="*/ 3021616 w 3182680"/>
              <a:gd name="connsiteY0" fmla="*/ 0 h 3247135"/>
              <a:gd name="connsiteX1" fmla="*/ 0 w 3182680"/>
              <a:gd name="connsiteY1" fmla="*/ 2443017 h 3247135"/>
              <a:gd name="connsiteX0" fmla="*/ 3021616 w 3257936"/>
              <a:gd name="connsiteY0" fmla="*/ 0 h 5140009"/>
              <a:gd name="connsiteX1" fmla="*/ 0 w 3257936"/>
              <a:gd name="connsiteY1" fmla="*/ 2443017 h 5140009"/>
              <a:gd name="connsiteX0" fmla="*/ 3021616 w 3260136"/>
              <a:gd name="connsiteY0" fmla="*/ 0 h 5173796"/>
              <a:gd name="connsiteX1" fmla="*/ 0 w 3260136"/>
              <a:gd name="connsiteY1" fmla="*/ 2443017 h 5173796"/>
              <a:gd name="connsiteX0" fmla="*/ 3021616 w 3441778"/>
              <a:gd name="connsiteY0" fmla="*/ 0 h 5257411"/>
              <a:gd name="connsiteX1" fmla="*/ 0 w 3441778"/>
              <a:gd name="connsiteY1" fmla="*/ 2443017 h 52574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441778" h="5257411">
                <a:moveTo>
                  <a:pt x="3021616" y="0"/>
                </a:moveTo>
                <a:cubicBezTo>
                  <a:pt x="4317515" y="5911050"/>
                  <a:pt x="2419976" y="6998021"/>
                  <a:pt x="0" y="2443017"/>
                </a:cubicBezTo>
              </a:path>
            </a:pathLst>
          </a:custGeom>
          <a:noFill/>
          <a:ln w="28575" cap="rnd">
            <a:solidFill>
              <a:schemeClr val="accent3">
                <a:lumMod val="60000"/>
                <a:lumOff val="40000"/>
              </a:schemeClr>
            </a:solidFill>
            <a:prstDash val="sysDash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20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17" name="TextBox 216"/>
          <p:cNvSpPr txBox="1"/>
          <p:nvPr/>
        </p:nvSpPr>
        <p:spPr>
          <a:xfrm>
            <a:off x="9620871" y="3664174"/>
            <a:ext cx="822960" cy="27432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ctr">
              <a:defRPr/>
            </a:pPr>
            <a:r>
              <a:rPr lang="en-US" sz="1050" kern="0" dirty="0">
                <a:solidFill>
                  <a:srgbClr val="707070">
                    <a:lumMod val="50000"/>
                  </a:srgbClr>
                </a:solidFill>
                <a:latin typeface="Honeywell Sans" panose="02010503040101060203" pitchFamily="50" charset="0"/>
                <a:cs typeface="Arial" pitchFamily="34" charset="0"/>
              </a:rPr>
              <a:t>ACTIONS</a:t>
            </a:r>
          </a:p>
        </p:txBody>
      </p:sp>
      <p:sp>
        <p:nvSpPr>
          <p:cNvPr id="218" name="TextBox 217"/>
          <p:cNvSpPr txBox="1"/>
          <p:nvPr/>
        </p:nvSpPr>
        <p:spPr>
          <a:xfrm>
            <a:off x="7882045" y="3664174"/>
            <a:ext cx="822960" cy="27432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ctr">
              <a:defRPr/>
            </a:pPr>
            <a:r>
              <a:rPr lang="en-US" sz="1050" kern="0" dirty="0">
                <a:solidFill>
                  <a:srgbClr val="707070">
                    <a:lumMod val="50000"/>
                  </a:srgbClr>
                </a:solidFill>
                <a:latin typeface="Honeywell Sans" panose="02010503040101060203" pitchFamily="50" charset="0"/>
                <a:cs typeface="Arial" pitchFamily="34" charset="0"/>
              </a:rPr>
              <a:t>ACTIONS</a:t>
            </a:r>
          </a:p>
        </p:txBody>
      </p:sp>
      <p:sp>
        <p:nvSpPr>
          <p:cNvPr id="219" name="TextBox 218"/>
          <p:cNvSpPr txBox="1"/>
          <p:nvPr/>
        </p:nvSpPr>
        <p:spPr>
          <a:xfrm>
            <a:off x="11274092" y="3664174"/>
            <a:ext cx="822960" cy="27432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ctr">
              <a:defRPr/>
            </a:pPr>
            <a:r>
              <a:rPr lang="en-US" sz="1050" kern="0" dirty="0">
                <a:solidFill>
                  <a:srgbClr val="707070">
                    <a:lumMod val="50000"/>
                  </a:srgbClr>
                </a:solidFill>
                <a:latin typeface="Honeywell Sans" panose="02010503040101060203" pitchFamily="50" charset="0"/>
                <a:cs typeface="Arial" pitchFamily="34" charset="0"/>
              </a:rPr>
              <a:t>ACTIONS</a:t>
            </a:r>
          </a:p>
        </p:txBody>
      </p:sp>
      <p:sp>
        <p:nvSpPr>
          <p:cNvPr id="220" name="Oval 219"/>
          <p:cNvSpPr>
            <a:spLocks/>
          </p:cNvSpPr>
          <p:nvPr/>
        </p:nvSpPr>
        <p:spPr>
          <a:xfrm>
            <a:off x="8633293" y="2168218"/>
            <a:ext cx="1503202" cy="1503202"/>
          </a:xfrm>
          <a:prstGeom prst="ellipse">
            <a:avLst/>
          </a:prstGeom>
          <a:solidFill>
            <a:schemeClr val="tx2"/>
          </a:solidFill>
          <a:ln w="12700">
            <a:noFill/>
          </a:ln>
          <a:effec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 defTabSz="45720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707070"/>
              </a:solidFill>
            </a:endParaRPr>
          </a:p>
        </p:txBody>
      </p:sp>
      <p:sp>
        <p:nvSpPr>
          <p:cNvPr id="221" name="TextBox 220"/>
          <p:cNvSpPr txBox="1"/>
          <p:nvPr/>
        </p:nvSpPr>
        <p:spPr>
          <a:xfrm>
            <a:off x="8781835" y="2926381"/>
            <a:ext cx="1262009" cy="464743"/>
          </a:xfrm>
          <a:prstGeom prst="rect">
            <a:avLst/>
          </a:prstGeom>
          <a:noFill/>
        </p:spPr>
        <p:txBody>
          <a:bodyPr wrap="square" lIns="91440" tIns="91440" rIns="91440" bIns="91440" anchor="t" anchorCtr="0">
            <a:noAutofit/>
          </a:bodyPr>
          <a:lstStyle/>
          <a:p>
            <a:pPr algn="ctr" defTabSz="457200" eaLnBrk="0" fontAlgn="base" hangingPunct="0">
              <a:lnSpc>
                <a:spcPct val="85000"/>
              </a:lnSpc>
              <a:defRPr/>
            </a:pPr>
            <a:r>
              <a:rPr lang="en-US" sz="1600" b="1" kern="0" dirty="0">
                <a:solidFill>
                  <a:srgbClr val="FFFFFF"/>
                </a:solidFill>
                <a:cs typeface="Arial" pitchFamily="34" charset="0"/>
              </a:rPr>
              <a:t>Production</a:t>
            </a:r>
            <a:br>
              <a:rPr lang="en-US" sz="1600" b="1" kern="0" dirty="0">
                <a:solidFill>
                  <a:srgbClr val="FFFFFF"/>
                </a:solidFill>
                <a:cs typeface="Arial" pitchFamily="34" charset="0"/>
              </a:rPr>
            </a:br>
            <a:r>
              <a:rPr lang="en-US" sz="1600" b="1" kern="0" dirty="0">
                <a:solidFill>
                  <a:srgbClr val="FFFFFF"/>
                </a:solidFill>
                <a:cs typeface="Arial" pitchFamily="34" charset="0"/>
              </a:rPr>
              <a:t>Efficiency</a:t>
            </a:r>
          </a:p>
        </p:txBody>
      </p:sp>
      <p:sp>
        <p:nvSpPr>
          <p:cNvPr id="222" name="Oval 221"/>
          <p:cNvSpPr>
            <a:spLocks/>
          </p:cNvSpPr>
          <p:nvPr/>
        </p:nvSpPr>
        <p:spPr>
          <a:xfrm>
            <a:off x="6953222" y="2168218"/>
            <a:ext cx="1503202" cy="1503202"/>
          </a:xfrm>
          <a:prstGeom prst="ellipse">
            <a:avLst/>
          </a:prstGeom>
          <a:solidFill>
            <a:schemeClr val="tx2"/>
          </a:solidFill>
          <a:ln w="12700">
            <a:noFill/>
          </a:ln>
          <a:effec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 defTabSz="45720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707070"/>
              </a:solidFill>
            </a:endParaRPr>
          </a:p>
        </p:txBody>
      </p:sp>
      <p:sp>
        <p:nvSpPr>
          <p:cNvPr id="223" name="TextBox 222"/>
          <p:cNvSpPr txBox="1"/>
          <p:nvPr/>
        </p:nvSpPr>
        <p:spPr>
          <a:xfrm>
            <a:off x="7087086" y="2926381"/>
            <a:ext cx="1188720" cy="464743"/>
          </a:xfrm>
          <a:prstGeom prst="rect">
            <a:avLst/>
          </a:prstGeom>
          <a:noFill/>
        </p:spPr>
        <p:txBody>
          <a:bodyPr wrap="square" lIns="91440" tIns="91440" rIns="91440" bIns="91440" anchor="t" anchorCtr="0">
            <a:noAutofit/>
          </a:bodyPr>
          <a:lstStyle>
            <a:defPPr>
              <a:defRPr lang="en-US"/>
            </a:defPPr>
            <a:lvl1pPr algn="ctr" defTabSz="914400" eaLnBrk="1" fontAlgn="auto" hangingPunct="1">
              <a:spcBef>
                <a:spcPts val="0"/>
              </a:spcBef>
              <a:spcAft>
                <a:spcPts val="0"/>
              </a:spcAft>
              <a:defRPr sz="1600" b="1" kern="0">
                <a:solidFill>
                  <a:schemeClr val="bg1"/>
                </a:solidFill>
              </a:defRPr>
            </a:lvl1pPr>
          </a:lstStyle>
          <a:p>
            <a:pPr>
              <a:lnSpc>
                <a:spcPct val="85000"/>
              </a:lnSpc>
              <a:defRPr/>
            </a:pPr>
            <a:r>
              <a:rPr lang="en-US" dirty="0">
                <a:solidFill>
                  <a:srgbClr val="FFFFFF"/>
                </a:solidFill>
                <a:cs typeface="Arial" pitchFamily="34" charset="0"/>
              </a:rPr>
              <a:t>Process</a:t>
            </a:r>
            <a:br>
              <a:rPr lang="en-US" dirty="0">
                <a:solidFill>
                  <a:srgbClr val="FFFFFF"/>
                </a:solidFill>
                <a:cs typeface="Arial" pitchFamily="34" charset="0"/>
              </a:rPr>
            </a:br>
            <a:r>
              <a:rPr lang="en-US" dirty="0">
                <a:solidFill>
                  <a:srgbClr val="FFFFFF"/>
                </a:solidFill>
                <a:cs typeface="Arial" pitchFamily="34" charset="0"/>
              </a:rPr>
              <a:t>Reliability</a:t>
            </a:r>
          </a:p>
        </p:txBody>
      </p:sp>
      <p:sp>
        <p:nvSpPr>
          <p:cNvPr id="224" name="Oval 223"/>
          <p:cNvSpPr>
            <a:spLocks/>
          </p:cNvSpPr>
          <p:nvPr/>
        </p:nvSpPr>
        <p:spPr>
          <a:xfrm>
            <a:off x="10313365" y="2168218"/>
            <a:ext cx="1503202" cy="1503202"/>
          </a:xfrm>
          <a:prstGeom prst="ellipse">
            <a:avLst/>
          </a:prstGeom>
          <a:solidFill>
            <a:schemeClr val="tx2"/>
          </a:solidFill>
          <a:ln w="12700">
            <a:noFill/>
          </a:ln>
          <a:effec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 defTabSz="45720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707070"/>
              </a:solidFill>
            </a:endParaRPr>
          </a:p>
        </p:txBody>
      </p:sp>
      <p:sp>
        <p:nvSpPr>
          <p:cNvPr id="225" name="TextBox 224"/>
          <p:cNvSpPr txBox="1"/>
          <p:nvPr/>
        </p:nvSpPr>
        <p:spPr>
          <a:xfrm>
            <a:off x="10295397" y="2926381"/>
            <a:ext cx="1561114" cy="267036"/>
          </a:xfrm>
          <a:prstGeom prst="rect">
            <a:avLst/>
          </a:prstGeom>
          <a:noFill/>
        </p:spPr>
        <p:txBody>
          <a:bodyPr wrap="square" lIns="91440" tIns="91440" rIns="91440" bIns="91440" anchor="t" anchorCtr="0">
            <a:noAutofit/>
          </a:bodyPr>
          <a:lstStyle>
            <a:defPPr>
              <a:defRPr lang="en-US"/>
            </a:defPPr>
            <a:lvl1pPr algn="ctr" defTabSz="914400" eaLnBrk="1" fontAlgn="auto" hangingPunct="1">
              <a:spcBef>
                <a:spcPts val="0"/>
              </a:spcBef>
              <a:spcAft>
                <a:spcPts val="0"/>
              </a:spcAft>
              <a:defRPr sz="1600" b="1" kern="0">
                <a:solidFill>
                  <a:schemeClr val="bg1"/>
                </a:solidFill>
              </a:defRPr>
            </a:lvl1pPr>
          </a:lstStyle>
          <a:p>
            <a:pPr>
              <a:lnSpc>
                <a:spcPct val="85000"/>
              </a:lnSpc>
              <a:defRPr/>
            </a:pPr>
            <a:r>
              <a:rPr lang="en-US" dirty="0">
                <a:solidFill>
                  <a:srgbClr val="FFFFFF"/>
                </a:solidFill>
                <a:cs typeface="Arial" pitchFamily="34" charset="0"/>
              </a:rPr>
              <a:t>Supply Chain Optimization</a:t>
            </a:r>
          </a:p>
        </p:txBody>
      </p:sp>
      <p:grpSp>
        <p:nvGrpSpPr>
          <p:cNvPr id="226" name="Group 225"/>
          <p:cNvGrpSpPr/>
          <p:nvPr/>
        </p:nvGrpSpPr>
        <p:grpSpPr>
          <a:xfrm>
            <a:off x="7260214" y="2414160"/>
            <a:ext cx="1134202" cy="710412"/>
            <a:chOff x="6155195" y="4473930"/>
            <a:chExt cx="1322008" cy="828045"/>
          </a:xfrm>
        </p:grpSpPr>
        <p:pic>
          <p:nvPicPr>
            <p:cNvPr id="227" name="Picture 226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155195" y="4473930"/>
              <a:ext cx="1030496" cy="515574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228" name="Oval 227"/>
            <p:cNvSpPr/>
            <p:nvPr/>
          </p:nvSpPr>
          <p:spPr>
            <a:xfrm rot="20708249">
              <a:off x="6886110" y="4695421"/>
              <a:ext cx="337086" cy="337086"/>
            </a:xfrm>
            <a:prstGeom prst="ellipse">
              <a:avLst/>
            </a:prstGeom>
            <a:solidFill>
              <a:schemeClr val="tx2">
                <a:alpha val="89804"/>
              </a:scheme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4572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>
                <a:solidFill>
                  <a:srgbClr val="FFFFFF"/>
                </a:solidFill>
                <a:latin typeface="Arial" charset="0"/>
                <a:cs typeface="Arial" pitchFamily="34" charset="0"/>
              </a:endParaRPr>
            </a:p>
          </p:txBody>
        </p:sp>
        <p:pic>
          <p:nvPicPr>
            <p:cNvPr id="229" name="Picture 228"/>
            <p:cNvPicPr>
              <a:picLocks noChangeAspect="1"/>
            </p:cNvPicPr>
            <p:nvPr/>
          </p:nvPicPr>
          <p:blipFill>
            <a:blip r:embed="rId3" cstate="screen">
              <a:duotone>
                <a:srgbClr val="197DDE">
                  <a:shade val="45000"/>
                  <a:satMod val="135000"/>
                </a:srgb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rightnessContrast bright="100000" contras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20708249">
              <a:off x="6757671" y="4582443"/>
              <a:ext cx="719532" cy="719532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230" name="Group 229"/>
          <p:cNvGrpSpPr/>
          <p:nvPr/>
        </p:nvGrpSpPr>
        <p:grpSpPr>
          <a:xfrm>
            <a:off x="8943451" y="2360002"/>
            <a:ext cx="956053" cy="601524"/>
            <a:chOff x="5501280" y="1560062"/>
            <a:chExt cx="1194461" cy="751524"/>
          </a:xfrm>
        </p:grpSpPr>
        <p:pic>
          <p:nvPicPr>
            <p:cNvPr id="231" name="Picture 230"/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501280" y="1560062"/>
              <a:ext cx="609045" cy="494921"/>
            </a:xfrm>
            <a:prstGeom prst="rect">
              <a:avLst/>
            </a:prstGeom>
          </p:spPr>
        </p:pic>
        <p:pic>
          <p:nvPicPr>
            <p:cNvPr id="232" name="Picture 231"/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173838" y="1649485"/>
              <a:ext cx="521903" cy="567736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233" name="Oval 232"/>
            <p:cNvSpPr/>
            <p:nvPr/>
          </p:nvSpPr>
          <p:spPr>
            <a:xfrm>
              <a:off x="5989522" y="1936227"/>
              <a:ext cx="368629" cy="368629"/>
            </a:xfrm>
            <a:prstGeom prst="ellipse">
              <a:avLst/>
            </a:prstGeom>
            <a:solidFill>
              <a:schemeClr val="accent3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4572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>
                <a:solidFill>
                  <a:srgbClr val="FFFFFF"/>
                </a:solidFill>
                <a:latin typeface="Arial" charset="0"/>
                <a:cs typeface="Arial" pitchFamily="34" charset="0"/>
              </a:endParaRPr>
            </a:p>
          </p:txBody>
        </p:sp>
        <p:pic>
          <p:nvPicPr>
            <p:cNvPr id="234" name="Picture 233"/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986174" y="1929494"/>
              <a:ext cx="382092" cy="382092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</p:pic>
      </p:grpSp>
      <p:grpSp>
        <p:nvGrpSpPr>
          <p:cNvPr id="235" name="Group 234"/>
          <p:cNvGrpSpPr/>
          <p:nvPr/>
        </p:nvGrpSpPr>
        <p:grpSpPr>
          <a:xfrm>
            <a:off x="10693035" y="2282010"/>
            <a:ext cx="701101" cy="701103"/>
            <a:chOff x="10201418" y="683660"/>
            <a:chExt cx="722167" cy="722168"/>
          </a:xfrm>
        </p:grpSpPr>
        <p:sp>
          <p:nvSpPr>
            <p:cNvPr id="236" name="Oval 235"/>
            <p:cNvSpPr/>
            <p:nvPr/>
          </p:nvSpPr>
          <p:spPr>
            <a:xfrm>
              <a:off x="10201418" y="683661"/>
              <a:ext cx="722167" cy="722167"/>
            </a:xfrm>
            <a:prstGeom prst="ellipse">
              <a:avLst/>
            </a:prstGeom>
            <a:solidFill>
              <a:schemeClr val="accent3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4572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>
                <a:solidFill>
                  <a:srgbClr val="FFFFFF"/>
                </a:solidFill>
                <a:latin typeface="Arial" charset="0"/>
                <a:cs typeface="Arial" pitchFamily="34" charset="0"/>
              </a:endParaRPr>
            </a:p>
          </p:txBody>
        </p:sp>
        <p:grpSp>
          <p:nvGrpSpPr>
            <p:cNvPr id="237" name="Group 51"/>
            <p:cNvGrpSpPr/>
            <p:nvPr/>
          </p:nvGrpSpPr>
          <p:grpSpPr>
            <a:xfrm>
              <a:off x="10201418" y="683660"/>
              <a:ext cx="722167" cy="722168"/>
              <a:chOff x="9264835" y="1437535"/>
              <a:chExt cx="1165084" cy="1165086"/>
            </a:xfrm>
          </p:grpSpPr>
          <p:pic>
            <p:nvPicPr>
              <p:cNvPr id="238" name="Picture 237"/>
              <p:cNvPicPr>
                <a:picLocks noChangeAspect="1"/>
              </p:cNvPicPr>
              <p:nvPr/>
            </p:nvPicPr>
            <p:blipFill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9264835" y="1437535"/>
                <a:ext cx="1165084" cy="1165086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</p:spPr>
          </p:pic>
          <p:pic>
            <p:nvPicPr>
              <p:cNvPr id="239" name="Picture 238"/>
              <p:cNvPicPr>
                <a:picLocks noChangeAspect="1"/>
              </p:cNvPicPr>
              <p:nvPr/>
            </p:nvPicPr>
            <p:blipFill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9575229" y="1734238"/>
                <a:ext cx="613289" cy="530265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</p:grpSp>
      <p:sp>
        <p:nvSpPr>
          <p:cNvPr id="240" name="Freeform: Shape 706"/>
          <p:cNvSpPr/>
          <p:nvPr/>
        </p:nvSpPr>
        <p:spPr>
          <a:xfrm rot="13733963">
            <a:off x="9980770" y="4338348"/>
            <a:ext cx="299330" cy="154651"/>
          </a:xfrm>
          <a:custGeom>
            <a:avLst/>
            <a:gdLst>
              <a:gd name="connsiteX0" fmla="*/ 0 w 357007"/>
              <a:gd name="connsiteY0" fmla="*/ 80614 h 87524"/>
              <a:gd name="connsiteX1" fmla="*/ 200385 w 357007"/>
              <a:gd name="connsiteY1" fmla="*/ 0 h 87524"/>
              <a:gd name="connsiteX2" fmla="*/ 357007 w 357007"/>
              <a:gd name="connsiteY2" fmla="*/ 87524 h 875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57007" h="87524">
                <a:moveTo>
                  <a:pt x="0" y="80614"/>
                </a:moveTo>
                <a:lnTo>
                  <a:pt x="200385" y="0"/>
                </a:lnTo>
                <a:lnTo>
                  <a:pt x="357007" y="87524"/>
                </a:lnTo>
              </a:path>
            </a:pathLst>
          </a:custGeom>
          <a:noFill/>
          <a:ln w="28575" cap="rnd">
            <a:solidFill>
              <a:schemeClr val="accent3">
                <a:lumMod val="60000"/>
                <a:lumOff val="40000"/>
              </a:schemeClr>
            </a:solidFill>
            <a:prstDash val="soli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20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41" name="Freeform: Shape 706"/>
          <p:cNvSpPr/>
          <p:nvPr/>
        </p:nvSpPr>
        <p:spPr>
          <a:xfrm rot="12770039">
            <a:off x="8779457" y="4320856"/>
            <a:ext cx="299330" cy="154651"/>
          </a:xfrm>
          <a:custGeom>
            <a:avLst/>
            <a:gdLst>
              <a:gd name="connsiteX0" fmla="*/ 0 w 357007"/>
              <a:gd name="connsiteY0" fmla="*/ 80614 h 87524"/>
              <a:gd name="connsiteX1" fmla="*/ 200385 w 357007"/>
              <a:gd name="connsiteY1" fmla="*/ 0 h 87524"/>
              <a:gd name="connsiteX2" fmla="*/ 357007 w 357007"/>
              <a:gd name="connsiteY2" fmla="*/ 87524 h 875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57007" h="87524">
                <a:moveTo>
                  <a:pt x="0" y="80614"/>
                </a:moveTo>
                <a:lnTo>
                  <a:pt x="200385" y="0"/>
                </a:lnTo>
                <a:lnTo>
                  <a:pt x="357007" y="87524"/>
                </a:lnTo>
              </a:path>
            </a:pathLst>
          </a:custGeom>
          <a:noFill/>
          <a:ln w="28575" cap="rnd">
            <a:solidFill>
              <a:schemeClr val="accent3">
                <a:lumMod val="60000"/>
                <a:lumOff val="40000"/>
              </a:schemeClr>
            </a:solidFill>
            <a:prstDash val="soli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20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42" name="Freeform: Shape 706"/>
          <p:cNvSpPr/>
          <p:nvPr/>
        </p:nvSpPr>
        <p:spPr>
          <a:xfrm rot="11929905">
            <a:off x="7546149" y="4296231"/>
            <a:ext cx="299330" cy="154651"/>
          </a:xfrm>
          <a:custGeom>
            <a:avLst/>
            <a:gdLst>
              <a:gd name="connsiteX0" fmla="*/ 0 w 357007"/>
              <a:gd name="connsiteY0" fmla="*/ 80614 h 87524"/>
              <a:gd name="connsiteX1" fmla="*/ 200385 w 357007"/>
              <a:gd name="connsiteY1" fmla="*/ 0 h 87524"/>
              <a:gd name="connsiteX2" fmla="*/ 357007 w 357007"/>
              <a:gd name="connsiteY2" fmla="*/ 87524 h 875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57007" h="87524">
                <a:moveTo>
                  <a:pt x="0" y="80614"/>
                </a:moveTo>
                <a:lnTo>
                  <a:pt x="200385" y="0"/>
                </a:lnTo>
                <a:lnTo>
                  <a:pt x="357007" y="87524"/>
                </a:lnTo>
              </a:path>
            </a:pathLst>
          </a:custGeom>
          <a:noFill/>
          <a:ln w="28575" cap="rnd">
            <a:solidFill>
              <a:schemeClr val="accent3">
                <a:lumMod val="60000"/>
                <a:lumOff val="40000"/>
              </a:schemeClr>
            </a:solidFill>
            <a:prstDash val="soli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20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43" name="Oval 295"/>
          <p:cNvSpPr/>
          <p:nvPr/>
        </p:nvSpPr>
        <p:spPr>
          <a:xfrm rot="19953909" flipH="1" flipV="1">
            <a:off x="1119174" y="1326031"/>
            <a:ext cx="4840068" cy="4679898"/>
          </a:xfrm>
          <a:custGeom>
            <a:avLst/>
            <a:gdLst>
              <a:gd name="connsiteX0" fmla="*/ 0 w 5573442"/>
              <a:gd name="connsiteY0" fmla="*/ 2786721 h 5573442"/>
              <a:gd name="connsiteX1" fmla="*/ 2786721 w 5573442"/>
              <a:gd name="connsiteY1" fmla="*/ 0 h 5573442"/>
              <a:gd name="connsiteX2" fmla="*/ 5573442 w 5573442"/>
              <a:gd name="connsiteY2" fmla="*/ 2786721 h 5573442"/>
              <a:gd name="connsiteX3" fmla="*/ 2786721 w 5573442"/>
              <a:gd name="connsiteY3" fmla="*/ 5573442 h 5573442"/>
              <a:gd name="connsiteX4" fmla="*/ 0 w 5573442"/>
              <a:gd name="connsiteY4" fmla="*/ 2786721 h 5573442"/>
              <a:gd name="connsiteX0" fmla="*/ 0 w 5573442"/>
              <a:gd name="connsiteY0" fmla="*/ 2786721 h 5573442"/>
              <a:gd name="connsiteX1" fmla="*/ 2786721 w 5573442"/>
              <a:gd name="connsiteY1" fmla="*/ 0 h 5573442"/>
              <a:gd name="connsiteX2" fmla="*/ 5573442 w 5573442"/>
              <a:gd name="connsiteY2" fmla="*/ 2786721 h 5573442"/>
              <a:gd name="connsiteX3" fmla="*/ 2786721 w 5573442"/>
              <a:gd name="connsiteY3" fmla="*/ 5573442 h 5573442"/>
              <a:gd name="connsiteX4" fmla="*/ 91440 w 5573442"/>
              <a:gd name="connsiteY4" fmla="*/ 2878161 h 5573442"/>
              <a:gd name="connsiteX0" fmla="*/ 0 w 5573442"/>
              <a:gd name="connsiteY0" fmla="*/ 2786721 h 5573442"/>
              <a:gd name="connsiteX1" fmla="*/ 2786721 w 5573442"/>
              <a:gd name="connsiteY1" fmla="*/ 0 h 5573442"/>
              <a:gd name="connsiteX2" fmla="*/ 5573442 w 5573442"/>
              <a:gd name="connsiteY2" fmla="*/ 2786721 h 5573442"/>
              <a:gd name="connsiteX3" fmla="*/ 2786721 w 5573442"/>
              <a:gd name="connsiteY3" fmla="*/ 5573442 h 5573442"/>
              <a:gd name="connsiteX0" fmla="*/ 0 w 2786721"/>
              <a:gd name="connsiteY0" fmla="*/ 0 h 5573442"/>
              <a:gd name="connsiteX1" fmla="*/ 2786721 w 2786721"/>
              <a:gd name="connsiteY1" fmla="*/ 2786721 h 5573442"/>
              <a:gd name="connsiteX2" fmla="*/ 0 w 2786721"/>
              <a:gd name="connsiteY2" fmla="*/ 5573442 h 5573442"/>
              <a:gd name="connsiteX0" fmla="*/ 2786721 w 2786721"/>
              <a:gd name="connsiteY0" fmla="*/ 0 h 2786721"/>
              <a:gd name="connsiteX1" fmla="*/ 0 w 2786721"/>
              <a:gd name="connsiteY1" fmla="*/ 2786721 h 2786721"/>
              <a:gd name="connsiteX0" fmla="*/ 2786721 w 2786721"/>
              <a:gd name="connsiteY0" fmla="*/ 0 h 2786721"/>
              <a:gd name="connsiteX1" fmla="*/ 0 w 2786721"/>
              <a:gd name="connsiteY1" fmla="*/ 2786721 h 2786721"/>
              <a:gd name="connsiteX0" fmla="*/ 2741383 w 2741383"/>
              <a:gd name="connsiteY0" fmla="*/ 0 h 2749859"/>
              <a:gd name="connsiteX1" fmla="*/ 0 w 2741383"/>
              <a:gd name="connsiteY1" fmla="*/ 2749859 h 2749859"/>
              <a:gd name="connsiteX0" fmla="*/ 2741383 w 2741383"/>
              <a:gd name="connsiteY0" fmla="*/ 0 h 2749859"/>
              <a:gd name="connsiteX1" fmla="*/ 0 w 2741383"/>
              <a:gd name="connsiteY1" fmla="*/ 2749859 h 2749859"/>
              <a:gd name="connsiteX0" fmla="*/ 2866458 w 2866458"/>
              <a:gd name="connsiteY0" fmla="*/ 0 h 2750648"/>
              <a:gd name="connsiteX1" fmla="*/ 0 w 2866458"/>
              <a:gd name="connsiteY1" fmla="*/ 2750648 h 2750648"/>
              <a:gd name="connsiteX0" fmla="*/ 2866458 w 2866458"/>
              <a:gd name="connsiteY0" fmla="*/ 0 h 2750648"/>
              <a:gd name="connsiteX1" fmla="*/ 0 w 2866458"/>
              <a:gd name="connsiteY1" fmla="*/ 2750648 h 2750648"/>
              <a:gd name="connsiteX0" fmla="*/ 2933712 w 2933712"/>
              <a:gd name="connsiteY0" fmla="*/ 0 h 2757153"/>
              <a:gd name="connsiteX1" fmla="*/ 0 w 2933712"/>
              <a:gd name="connsiteY1" fmla="*/ 2757153 h 2757153"/>
              <a:gd name="connsiteX0" fmla="*/ 2933712 w 2933712"/>
              <a:gd name="connsiteY0" fmla="*/ 0 h 2757153"/>
              <a:gd name="connsiteX1" fmla="*/ 0 w 2933712"/>
              <a:gd name="connsiteY1" fmla="*/ 2757153 h 2757153"/>
              <a:gd name="connsiteX0" fmla="*/ 2841238 w 2841238"/>
              <a:gd name="connsiteY0" fmla="*/ 0 h 2965183"/>
              <a:gd name="connsiteX1" fmla="*/ 0 w 2841238"/>
              <a:gd name="connsiteY1" fmla="*/ 2965183 h 2965183"/>
              <a:gd name="connsiteX0" fmla="*/ 2918631 w 2918631"/>
              <a:gd name="connsiteY0" fmla="*/ 0 h 2723026"/>
              <a:gd name="connsiteX1" fmla="*/ 0 w 2918631"/>
              <a:gd name="connsiteY1" fmla="*/ 2723026 h 2723026"/>
              <a:gd name="connsiteX0" fmla="*/ 2918631 w 2918631"/>
              <a:gd name="connsiteY0" fmla="*/ 0 h 2732864"/>
              <a:gd name="connsiteX1" fmla="*/ 0 w 2918631"/>
              <a:gd name="connsiteY1" fmla="*/ 2723026 h 2732864"/>
              <a:gd name="connsiteX0" fmla="*/ 2891960 w 2891960"/>
              <a:gd name="connsiteY0" fmla="*/ 0 h 2653103"/>
              <a:gd name="connsiteX1" fmla="*/ 0 w 2891960"/>
              <a:gd name="connsiteY1" fmla="*/ 2641810 h 2653103"/>
              <a:gd name="connsiteX0" fmla="*/ 2891960 w 2891960"/>
              <a:gd name="connsiteY0" fmla="*/ 0 h 2646980"/>
              <a:gd name="connsiteX1" fmla="*/ 0 w 2891960"/>
              <a:gd name="connsiteY1" fmla="*/ 2641810 h 2646980"/>
              <a:gd name="connsiteX0" fmla="*/ 2891960 w 2891960"/>
              <a:gd name="connsiteY0" fmla="*/ 0 h 2647204"/>
              <a:gd name="connsiteX1" fmla="*/ 0 w 2891960"/>
              <a:gd name="connsiteY1" fmla="*/ 2641810 h 2647204"/>
              <a:gd name="connsiteX0" fmla="*/ 2891960 w 2891960"/>
              <a:gd name="connsiteY0" fmla="*/ 0 h 2725922"/>
              <a:gd name="connsiteX1" fmla="*/ 0 w 2891960"/>
              <a:gd name="connsiteY1" fmla="*/ 2641810 h 2725922"/>
              <a:gd name="connsiteX0" fmla="*/ 3157889 w 3157889"/>
              <a:gd name="connsiteY0" fmla="*/ 0 h 2586444"/>
              <a:gd name="connsiteX1" fmla="*/ 0 w 3157889"/>
              <a:gd name="connsiteY1" fmla="*/ 2494687 h 2586444"/>
              <a:gd name="connsiteX0" fmla="*/ 3157889 w 3157889"/>
              <a:gd name="connsiteY0" fmla="*/ 0 h 2578511"/>
              <a:gd name="connsiteX1" fmla="*/ 0 w 3157889"/>
              <a:gd name="connsiteY1" fmla="*/ 2494687 h 2578511"/>
              <a:gd name="connsiteX0" fmla="*/ 3693379 w 3693379"/>
              <a:gd name="connsiteY0" fmla="*/ 0 h 2384955"/>
              <a:gd name="connsiteX1" fmla="*/ 0 w 3693379"/>
              <a:gd name="connsiteY1" fmla="*/ 2290152 h 2384955"/>
              <a:gd name="connsiteX0" fmla="*/ 1776223 w 1776223"/>
              <a:gd name="connsiteY0" fmla="*/ 0 h 3441794"/>
              <a:gd name="connsiteX1" fmla="*/ 0 w 1776223"/>
              <a:gd name="connsiteY1" fmla="*/ 3386612 h 3441794"/>
              <a:gd name="connsiteX0" fmla="*/ 1776223 w 3702993"/>
              <a:gd name="connsiteY0" fmla="*/ 0 h 3663125"/>
              <a:gd name="connsiteX1" fmla="*/ 0 w 3702993"/>
              <a:gd name="connsiteY1" fmla="*/ 3386612 h 3663125"/>
              <a:gd name="connsiteX0" fmla="*/ 1776223 w 3687810"/>
              <a:gd name="connsiteY0" fmla="*/ 0 h 3830958"/>
              <a:gd name="connsiteX1" fmla="*/ 0 w 3687810"/>
              <a:gd name="connsiteY1" fmla="*/ 3386612 h 3830958"/>
              <a:gd name="connsiteX0" fmla="*/ 1242191 w 3281067"/>
              <a:gd name="connsiteY0" fmla="*/ 0 h 4076737"/>
              <a:gd name="connsiteX1" fmla="*/ 0 w 3281067"/>
              <a:gd name="connsiteY1" fmla="*/ 3699651 h 4076737"/>
              <a:gd name="connsiteX0" fmla="*/ 1233019 w 3274218"/>
              <a:gd name="connsiteY0" fmla="*/ 0 h 4103198"/>
              <a:gd name="connsiteX1" fmla="*/ 0 w 3274218"/>
              <a:gd name="connsiteY1" fmla="*/ 3732368 h 4103198"/>
              <a:gd name="connsiteX0" fmla="*/ 1233019 w 3570036"/>
              <a:gd name="connsiteY0" fmla="*/ 0 h 4073776"/>
              <a:gd name="connsiteX1" fmla="*/ 0 w 3570036"/>
              <a:gd name="connsiteY1" fmla="*/ 3732368 h 4073776"/>
              <a:gd name="connsiteX0" fmla="*/ 1233019 w 3753636"/>
              <a:gd name="connsiteY0" fmla="*/ 0 h 4098253"/>
              <a:gd name="connsiteX1" fmla="*/ 0 w 3753636"/>
              <a:gd name="connsiteY1" fmla="*/ 3732368 h 40982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753636" h="4098253">
                <a:moveTo>
                  <a:pt x="1233019" y="0"/>
                </a:moveTo>
                <a:cubicBezTo>
                  <a:pt x="6451602" y="4141329"/>
                  <a:pt x="2313843" y="4598573"/>
                  <a:pt x="0" y="3732368"/>
                </a:cubicBezTo>
              </a:path>
            </a:pathLst>
          </a:custGeom>
          <a:noFill/>
          <a:ln w="28575" cap="rnd">
            <a:solidFill>
              <a:schemeClr val="accent3">
                <a:lumMod val="60000"/>
                <a:lumOff val="40000"/>
              </a:schemeClr>
            </a:solidFill>
            <a:prstDash val="sysDash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20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</a:endParaRPr>
          </a:p>
        </p:txBody>
      </p:sp>
      <p:grpSp>
        <p:nvGrpSpPr>
          <p:cNvPr id="244" name="Group 243"/>
          <p:cNvGrpSpPr/>
          <p:nvPr/>
        </p:nvGrpSpPr>
        <p:grpSpPr>
          <a:xfrm>
            <a:off x="699036" y="2296837"/>
            <a:ext cx="822960" cy="822960"/>
            <a:chOff x="1172245" y="2743358"/>
            <a:chExt cx="922952" cy="879234"/>
          </a:xfrm>
        </p:grpSpPr>
        <p:sp>
          <p:nvSpPr>
            <p:cNvPr id="245" name="Oval 244"/>
            <p:cNvSpPr/>
            <p:nvPr/>
          </p:nvSpPr>
          <p:spPr>
            <a:xfrm>
              <a:off x="1172245" y="2743358"/>
              <a:ext cx="922952" cy="879234"/>
            </a:xfrm>
            <a:prstGeom prst="ellipse">
              <a:avLst/>
            </a:prstGeom>
            <a:solidFill>
              <a:schemeClr val="bg1"/>
            </a:solidFill>
            <a:ln w="88900">
              <a:solidFill>
                <a:schemeClr val="accent3">
                  <a:alpha val="20000"/>
                </a:schemeClr>
              </a:solidFill>
            </a:ln>
            <a:effectLst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kern="0" dirty="0">
                <a:solidFill>
                  <a:srgbClr val="E1261C"/>
                </a:solidFill>
                <a:latin typeface="Honeywell Sans" panose="02010503040101060203" pitchFamily="50" charset="0"/>
              </a:endParaRPr>
            </a:p>
          </p:txBody>
        </p:sp>
        <p:grpSp>
          <p:nvGrpSpPr>
            <p:cNvPr id="246" name="Group 245"/>
            <p:cNvGrpSpPr/>
            <p:nvPr/>
          </p:nvGrpSpPr>
          <p:grpSpPr>
            <a:xfrm>
              <a:off x="1299399" y="2983967"/>
              <a:ext cx="695121" cy="400049"/>
              <a:chOff x="3673501" y="2329290"/>
              <a:chExt cx="2249488" cy="1294606"/>
            </a:xfrm>
          </p:grpSpPr>
          <p:sp>
            <p:nvSpPr>
              <p:cNvPr id="247" name="Rounded Rectangle 4"/>
              <p:cNvSpPr/>
              <p:nvPr/>
            </p:nvSpPr>
            <p:spPr>
              <a:xfrm>
                <a:off x="3892577" y="2580910"/>
                <a:ext cx="393700" cy="222249"/>
              </a:xfrm>
              <a:custGeom>
                <a:avLst/>
                <a:gdLst>
                  <a:gd name="connsiteX0" fmla="*/ 0 w 438150"/>
                  <a:gd name="connsiteY0" fmla="*/ 44451 h 266700"/>
                  <a:gd name="connsiteX1" fmla="*/ 44451 w 438150"/>
                  <a:gd name="connsiteY1" fmla="*/ 0 h 266700"/>
                  <a:gd name="connsiteX2" fmla="*/ 393699 w 438150"/>
                  <a:gd name="connsiteY2" fmla="*/ 0 h 266700"/>
                  <a:gd name="connsiteX3" fmla="*/ 438150 w 438150"/>
                  <a:gd name="connsiteY3" fmla="*/ 44451 h 266700"/>
                  <a:gd name="connsiteX4" fmla="*/ 438150 w 438150"/>
                  <a:gd name="connsiteY4" fmla="*/ 222249 h 266700"/>
                  <a:gd name="connsiteX5" fmla="*/ 393699 w 438150"/>
                  <a:gd name="connsiteY5" fmla="*/ 266700 h 266700"/>
                  <a:gd name="connsiteX6" fmla="*/ 44451 w 438150"/>
                  <a:gd name="connsiteY6" fmla="*/ 266700 h 266700"/>
                  <a:gd name="connsiteX7" fmla="*/ 0 w 438150"/>
                  <a:gd name="connsiteY7" fmla="*/ 222249 h 266700"/>
                  <a:gd name="connsiteX8" fmla="*/ 0 w 438150"/>
                  <a:gd name="connsiteY8" fmla="*/ 44451 h 266700"/>
                  <a:gd name="connsiteX0" fmla="*/ 44451 w 438150"/>
                  <a:gd name="connsiteY0" fmla="*/ 0 h 266700"/>
                  <a:gd name="connsiteX1" fmla="*/ 393699 w 438150"/>
                  <a:gd name="connsiteY1" fmla="*/ 0 h 266700"/>
                  <a:gd name="connsiteX2" fmla="*/ 438150 w 438150"/>
                  <a:gd name="connsiteY2" fmla="*/ 44451 h 266700"/>
                  <a:gd name="connsiteX3" fmla="*/ 438150 w 438150"/>
                  <a:gd name="connsiteY3" fmla="*/ 222249 h 266700"/>
                  <a:gd name="connsiteX4" fmla="*/ 393699 w 438150"/>
                  <a:gd name="connsiteY4" fmla="*/ 266700 h 266700"/>
                  <a:gd name="connsiteX5" fmla="*/ 44451 w 438150"/>
                  <a:gd name="connsiteY5" fmla="*/ 266700 h 266700"/>
                  <a:gd name="connsiteX6" fmla="*/ 0 w 438150"/>
                  <a:gd name="connsiteY6" fmla="*/ 222249 h 266700"/>
                  <a:gd name="connsiteX7" fmla="*/ 0 w 438150"/>
                  <a:gd name="connsiteY7" fmla="*/ 44451 h 266700"/>
                  <a:gd name="connsiteX8" fmla="*/ 135891 w 438150"/>
                  <a:gd name="connsiteY8" fmla="*/ 91440 h 266700"/>
                  <a:gd name="connsiteX0" fmla="*/ 44451 w 438150"/>
                  <a:gd name="connsiteY0" fmla="*/ 0 h 266700"/>
                  <a:gd name="connsiteX1" fmla="*/ 393699 w 438150"/>
                  <a:gd name="connsiteY1" fmla="*/ 0 h 266700"/>
                  <a:gd name="connsiteX2" fmla="*/ 438150 w 438150"/>
                  <a:gd name="connsiteY2" fmla="*/ 44451 h 266700"/>
                  <a:gd name="connsiteX3" fmla="*/ 438150 w 438150"/>
                  <a:gd name="connsiteY3" fmla="*/ 222249 h 266700"/>
                  <a:gd name="connsiteX4" fmla="*/ 393699 w 438150"/>
                  <a:gd name="connsiteY4" fmla="*/ 266700 h 266700"/>
                  <a:gd name="connsiteX5" fmla="*/ 44451 w 438150"/>
                  <a:gd name="connsiteY5" fmla="*/ 266700 h 266700"/>
                  <a:gd name="connsiteX6" fmla="*/ 0 w 438150"/>
                  <a:gd name="connsiteY6" fmla="*/ 222249 h 266700"/>
                  <a:gd name="connsiteX7" fmla="*/ 0 w 438150"/>
                  <a:gd name="connsiteY7" fmla="*/ 44451 h 266700"/>
                  <a:gd name="connsiteX0" fmla="*/ 393699 w 438150"/>
                  <a:gd name="connsiteY0" fmla="*/ 0 h 266700"/>
                  <a:gd name="connsiteX1" fmla="*/ 438150 w 438150"/>
                  <a:gd name="connsiteY1" fmla="*/ 44451 h 266700"/>
                  <a:gd name="connsiteX2" fmla="*/ 438150 w 438150"/>
                  <a:gd name="connsiteY2" fmla="*/ 222249 h 266700"/>
                  <a:gd name="connsiteX3" fmla="*/ 393699 w 438150"/>
                  <a:gd name="connsiteY3" fmla="*/ 266700 h 266700"/>
                  <a:gd name="connsiteX4" fmla="*/ 44451 w 438150"/>
                  <a:gd name="connsiteY4" fmla="*/ 266700 h 266700"/>
                  <a:gd name="connsiteX5" fmla="*/ 0 w 438150"/>
                  <a:gd name="connsiteY5" fmla="*/ 222249 h 266700"/>
                  <a:gd name="connsiteX6" fmla="*/ 0 w 438150"/>
                  <a:gd name="connsiteY6" fmla="*/ 44451 h 266700"/>
                  <a:gd name="connsiteX0" fmla="*/ 438150 w 438150"/>
                  <a:gd name="connsiteY0" fmla="*/ 0 h 222249"/>
                  <a:gd name="connsiteX1" fmla="*/ 438150 w 438150"/>
                  <a:gd name="connsiteY1" fmla="*/ 177798 h 222249"/>
                  <a:gd name="connsiteX2" fmla="*/ 393699 w 438150"/>
                  <a:gd name="connsiteY2" fmla="*/ 222249 h 222249"/>
                  <a:gd name="connsiteX3" fmla="*/ 44451 w 438150"/>
                  <a:gd name="connsiteY3" fmla="*/ 222249 h 222249"/>
                  <a:gd name="connsiteX4" fmla="*/ 0 w 438150"/>
                  <a:gd name="connsiteY4" fmla="*/ 177798 h 222249"/>
                  <a:gd name="connsiteX5" fmla="*/ 0 w 438150"/>
                  <a:gd name="connsiteY5" fmla="*/ 0 h 222249"/>
                  <a:gd name="connsiteX0" fmla="*/ 438150 w 438150"/>
                  <a:gd name="connsiteY0" fmla="*/ 177798 h 222249"/>
                  <a:gd name="connsiteX1" fmla="*/ 393699 w 438150"/>
                  <a:gd name="connsiteY1" fmla="*/ 222249 h 222249"/>
                  <a:gd name="connsiteX2" fmla="*/ 44451 w 438150"/>
                  <a:gd name="connsiteY2" fmla="*/ 222249 h 222249"/>
                  <a:gd name="connsiteX3" fmla="*/ 0 w 438150"/>
                  <a:gd name="connsiteY3" fmla="*/ 177798 h 222249"/>
                  <a:gd name="connsiteX4" fmla="*/ 0 w 438150"/>
                  <a:gd name="connsiteY4" fmla="*/ 0 h 222249"/>
                  <a:gd name="connsiteX0" fmla="*/ 393699 w 393699"/>
                  <a:gd name="connsiteY0" fmla="*/ 222249 h 222249"/>
                  <a:gd name="connsiteX1" fmla="*/ 44451 w 393699"/>
                  <a:gd name="connsiteY1" fmla="*/ 222249 h 222249"/>
                  <a:gd name="connsiteX2" fmla="*/ 0 w 393699"/>
                  <a:gd name="connsiteY2" fmla="*/ 177798 h 222249"/>
                  <a:gd name="connsiteX3" fmla="*/ 0 w 393699"/>
                  <a:gd name="connsiteY3" fmla="*/ 0 h 222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93699" h="222249">
                    <a:moveTo>
                      <a:pt x="393699" y="222249"/>
                    </a:moveTo>
                    <a:lnTo>
                      <a:pt x="44451" y="222249"/>
                    </a:lnTo>
                    <a:cubicBezTo>
                      <a:pt x="19901" y="222249"/>
                      <a:pt x="0" y="202348"/>
                      <a:pt x="0" y="177798"/>
                    </a:cubicBezTo>
                    <a:lnTo>
                      <a:pt x="0" y="0"/>
                    </a:lnTo>
                  </a:path>
                </a:pathLst>
              </a:custGeom>
              <a:noFill/>
              <a:ln w="9525" cmpd="sng">
                <a:solidFill>
                  <a:schemeClr val="tx1">
                    <a:lumMod val="65000"/>
                    <a:lumOff val="3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en-US" kern="0">
                  <a:solidFill>
                    <a:srgbClr val="FFFFFF"/>
                  </a:solidFill>
                  <a:latin typeface="Honeywell Sans" panose="02010503040101060203" pitchFamily="50" charset="0"/>
                </a:endParaRPr>
              </a:p>
            </p:txBody>
          </p:sp>
          <p:sp>
            <p:nvSpPr>
              <p:cNvPr id="248" name="Rounded Rectangle 247"/>
              <p:cNvSpPr/>
              <p:nvPr/>
            </p:nvSpPr>
            <p:spPr>
              <a:xfrm>
                <a:off x="3673501" y="2329290"/>
                <a:ext cx="438152" cy="266700"/>
              </a:xfrm>
              <a:prstGeom prst="roundRect">
                <a:avLst/>
              </a:prstGeom>
              <a:solidFill>
                <a:schemeClr val="tx2"/>
              </a:solidFill>
              <a:ln w="9525" cmpd="sng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en-US" kern="0">
                  <a:solidFill>
                    <a:srgbClr val="FFFFFF"/>
                  </a:solidFill>
                  <a:latin typeface="Honeywell Sans" panose="02010503040101060203" pitchFamily="50" charset="0"/>
                </a:endParaRPr>
              </a:p>
            </p:txBody>
          </p:sp>
          <p:sp>
            <p:nvSpPr>
              <p:cNvPr id="249" name="Rounded Rectangle 248"/>
              <p:cNvSpPr/>
              <p:nvPr/>
            </p:nvSpPr>
            <p:spPr>
              <a:xfrm>
                <a:off x="4278339" y="2665045"/>
                <a:ext cx="438152" cy="266700"/>
              </a:xfrm>
              <a:prstGeom prst="roundRect">
                <a:avLst/>
              </a:prstGeom>
              <a:solidFill>
                <a:schemeClr val="tx2"/>
              </a:solidFill>
              <a:ln w="9525" cmpd="sng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en-US" kern="0">
                  <a:solidFill>
                    <a:srgbClr val="FFFFFF"/>
                  </a:solidFill>
                  <a:latin typeface="Honeywell Sans" panose="02010503040101060203" pitchFamily="50" charset="0"/>
                </a:endParaRPr>
              </a:p>
            </p:txBody>
          </p:sp>
          <p:sp>
            <p:nvSpPr>
              <p:cNvPr id="250" name="Rounded Rectangle 4"/>
              <p:cNvSpPr/>
              <p:nvPr/>
            </p:nvSpPr>
            <p:spPr>
              <a:xfrm>
                <a:off x="4489474" y="2923809"/>
                <a:ext cx="393700" cy="222249"/>
              </a:xfrm>
              <a:custGeom>
                <a:avLst/>
                <a:gdLst>
                  <a:gd name="connsiteX0" fmla="*/ 0 w 438150"/>
                  <a:gd name="connsiteY0" fmla="*/ 44451 h 266700"/>
                  <a:gd name="connsiteX1" fmla="*/ 44451 w 438150"/>
                  <a:gd name="connsiteY1" fmla="*/ 0 h 266700"/>
                  <a:gd name="connsiteX2" fmla="*/ 393699 w 438150"/>
                  <a:gd name="connsiteY2" fmla="*/ 0 h 266700"/>
                  <a:gd name="connsiteX3" fmla="*/ 438150 w 438150"/>
                  <a:gd name="connsiteY3" fmla="*/ 44451 h 266700"/>
                  <a:gd name="connsiteX4" fmla="*/ 438150 w 438150"/>
                  <a:gd name="connsiteY4" fmla="*/ 222249 h 266700"/>
                  <a:gd name="connsiteX5" fmla="*/ 393699 w 438150"/>
                  <a:gd name="connsiteY5" fmla="*/ 266700 h 266700"/>
                  <a:gd name="connsiteX6" fmla="*/ 44451 w 438150"/>
                  <a:gd name="connsiteY6" fmla="*/ 266700 h 266700"/>
                  <a:gd name="connsiteX7" fmla="*/ 0 w 438150"/>
                  <a:gd name="connsiteY7" fmla="*/ 222249 h 266700"/>
                  <a:gd name="connsiteX8" fmla="*/ 0 w 438150"/>
                  <a:gd name="connsiteY8" fmla="*/ 44451 h 266700"/>
                  <a:gd name="connsiteX0" fmla="*/ 44451 w 438150"/>
                  <a:gd name="connsiteY0" fmla="*/ 0 h 266700"/>
                  <a:gd name="connsiteX1" fmla="*/ 393699 w 438150"/>
                  <a:gd name="connsiteY1" fmla="*/ 0 h 266700"/>
                  <a:gd name="connsiteX2" fmla="*/ 438150 w 438150"/>
                  <a:gd name="connsiteY2" fmla="*/ 44451 h 266700"/>
                  <a:gd name="connsiteX3" fmla="*/ 438150 w 438150"/>
                  <a:gd name="connsiteY3" fmla="*/ 222249 h 266700"/>
                  <a:gd name="connsiteX4" fmla="*/ 393699 w 438150"/>
                  <a:gd name="connsiteY4" fmla="*/ 266700 h 266700"/>
                  <a:gd name="connsiteX5" fmla="*/ 44451 w 438150"/>
                  <a:gd name="connsiteY5" fmla="*/ 266700 h 266700"/>
                  <a:gd name="connsiteX6" fmla="*/ 0 w 438150"/>
                  <a:gd name="connsiteY6" fmla="*/ 222249 h 266700"/>
                  <a:gd name="connsiteX7" fmla="*/ 0 w 438150"/>
                  <a:gd name="connsiteY7" fmla="*/ 44451 h 266700"/>
                  <a:gd name="connsiteX8" fmla="*/ 135891 w 438150"/>
                  <a:gd name="connsiteY8" fmla="*/ 91440 h 266700"/>
                  <a:gd name="connsiteX0" fmla="*/ 44451 w 438150"/>
                  <a:gd name="connsiteY0" fmla="*/ 0 h 266700"/>
                  <a:gd name="connsiteX1" fmla="*/ 393699 w 438150"/>
                  <a:gd name="connsiteY1" fmla="*/ 0 h 266700"/>
                  <a:gd name="connsiteX2" fmla="*/ 438150 w 438150"/>
                  <a:gd name="connsiteY2" fmla="*/ 44451 h 266700"/>
                  <a:gd name="connsiteX3" fmla="*/ 438150 w 438150"/>
                  <a:gd name="connsiteY3" fmla="*/ 222249 h 266700"/>
                  <a:gd name="connsiteX4" fmla="*/ 393699 w 438150"/>
                  <a:gd name="connsiteY4" fmla="*/ 266700 h 266700"/>
                  <a:gd name="connsiteX5" fmla="*/ 44451 w 438150"/>
                  <a:gd name="connsiteY5" fmla="*/ 266700 h 266700"/>
                  <a:gd name="connsiteX6" fmla="*/ 0 w 438150"/>
                  <a:gd name="connsiteY6" fmla="*/ 222249 h 266700"/>
                  <a:gd name="connsiteX7" fmla="*/ 0 w 438150"/>
                  <a:gd name="connsiteY7" fmla="*/ 44451 h 266700"/>
                  <a:gd name="connsiteX0" fmla="*/ 393699 w 438150"/>
                  <a:gd name="connsiteY0" fmla="*/ 0 h 266700"/>
                  <a:gd name="connsiteX1" fmla="*/ 438150 w 438150"/>
                  <a:gd name="connsiteY1" fmla="*/ 44451 h 266700"/>
                  <a:gd name="connsiteX2" fmla="*/ 438150 w 438150"/>
                  <a:gd name="connsiteY2" fmla="*/ 222249 h 266700"/>
                  <a:gd name="connsiteX3" fmla="*/ 393699 w 438150"/>
                  <a:gd name="connsiteY3" fmla="*/ 266700 h 266700"/>
                  <a:gd name="connsiteX4" fmla="*/ 44451 w 438150"/>
                  <a:gd name="connsiteY4" fmla="*/ 266700 h 266700"/>
                  <a:gd name="connsiteX5" fmla="*/ 0 w 438150"/>
                  <a:gd name="connsiteY5" fmla="*/ 222249 h 266700"/>
                  <a:gd name="connsiteX6" fmla="*/ 0 w 438150"/>
                  <a:gd name="connsiteY6" fmla="*/ 44451 h 266700"/>
                  <a:gd name="connsiteX0" fmla="*/ 438150 w 438150"/>
                  <a:gd name="connsiteY0" fmla="*/ 0 h 222249"/>
                  <a:gd name="connsiteX1" fmla="*/ 438150 w 438150"/>
                  <a:gd name="connsiteY1" fmla="*/ 177798 h 222249"/>
                  <a:gd name="connsiteX2" fmla="*/ 393699 w 438150"/>
                  <a:gd name="connsiteY2" fmla="*/ 222249 h 222249"/>
                  <a:gd name="connsiteX3" fmla="*/ 44451 w 438150"/>
                  <a:gd name="connsiteY3" fmla="*/ 222249 h 222249"/>
                  <a:gd name="connsiteX4" fmla="*/ 0 w 438150"/>
                  <a:gd name="connsiteY4" fmla="*/ 177798 h 222249"/>
                  <a:gd name="connsiteX5" fmla="*/ 0 w 438150"/>
                  <a:gd name="connsiteY5" fmla="*/ 0 h 222249"/>
                  <a:gd name="connsiteX0" fmla="*/ 438150 w 438150"/>
                  <a:gd name="connsiteY0" fmla="*/ 177798 h 222249"/>
                  <a:gd name="connsiteX1" fmla="*/ 393699 w 438150"/>
                  <a:gd name="connsiteY1" fmla="*/ 222249 h 222249"/>
                  <a:gd name="connsiteX2" fmla="*/ 44451 w 438150"/>
                  <a:gd name="connsiteY2" fmla="*/ 222249 h 222249"/>
                  <a:gd name="connsiteX3" fmla="*/ 0 w 438150"/>
                  <a:gd name="connsiteY3" fmla="*/ 177798 h 222249"/>
                  <a:gd name="connsiteX4" fmla="*/ 0 w 438150"/>
                  <a:gd name="connsiteY4" fmla="*/ 0 h 222249"/>
                  <a:gd name="connsiteX0" fmla="*/ 393699 w 393699"/>
                  <a:gd name="connsiteY0" fmla="*/ 222249 h 222249"/>
                  <a:gd name="connsiteX1" fmla="*/ 44451 w 393699"/>
                  <a:gd name="connsiteY1" fmla="*/ 222249 h 222249"/>
                  <a:gd name="connsiteX2" fmla="*/ 0 w 393699"/>
                  <a:gd name="connsiteY2" fmla="*/ 177798 h 222249"/>
                  <a:gd name="connsiteX3" fmla="*/ 0 w 393699"/>
                  <a:gd name="connsiteY3" fmla="*/ 0 h 222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93699" h="222249">
                    <a:moveTo>
                      <a:pt x="393699" y="222249"/>
                    </a:moveTo>
                    <a:lnTo>
                      <a:pt x="44451" y="222249"/>
                    </a:lnTo>
                    <a:cubicBezTo>
                      <a:pt x="19901" y="222249"/>
                      <a:pt x="0" y="202348"/>
                      <a:pt x="0" y="177798"/>
                    </a:cubicBezTo>
                    <a:lnTo>
                      <a:pt x="0" y="0"/>
                    </a:lnTo>
                  </a:path>
                </a:pathLst>
              </a:custGeom>
              <a:noFill/>
              <a:ln w="9525" cmpd="sng">
                <a:solidFill>
                  <a:schemeClr val="tx1">
                    <a:lumMod val="65000"/>
                    <a:lumOff val="3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en-US" kern="0">
                  <a:solidFill>
                    <a:srgbClr val="FFFFFF"/>
                  </a:solidFill>
                  <a:latin typeface="Honeywell Sans" panose="02010503040101060203" pitchFamily="50" charset="0"/>
                </a:endParaRPr>
              </a:p>
            </p:txBody>
          </p:sp>
          <p:sp>
            <p:nvSpPr>
              <p:cNvPr id="251" name="Rounded Rectangle 250"/>
              <p:cNvSpPr/>
              <p:nvPr/>
            </p:nvSpPr>
            <p:spPr>
              <a:xfrm>
                <a:off x="4875237" y="3007947"/>
                <a:ext cx="438152" cy="266700"/>
              </a:xfrm>
              <a:prstGeom prst="roundRect">
                <a:avLst/>
              </a:prstGeom>
              <a:solidFill>
                <a:schemeClr val="tx2"/>
              </a:solidFill>
              <a:ln w="9525" cmpd="sng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en-US" kern="0">
                  <a:solidFill>
                    <a:srgbClr val="FFFFFF"/>
                  </a:solidFill>
                  <a:latin typeface="Honeywell Sans" panose="02010503040101060203" pitchFamily="50" charset="0"/>
                </a:endParaRPr>
              </a:p>
            </p:txBody>
          </p:sp>
          <p:sp>
            <p:nvSpPr>
              <p:cNvPr id="252" name="Rounded Rectangle 4"/>
              <p:cNvSpPr/>
              <p:nvPr/>
            </p:nvSpPr>
            <p:spPr>
              <a:xfrm>
                <a:off x="5099075" y="3273060"/>
                <a:ext cx="393700" cy="222249"/>
              </a:xfrm>
              <a:custGeom>
                <a:avLst/>
                <a:gdLst>
                  <a:gd name="connsiteX0" fmla="*/ 0 w 438150"/>
                  <a:gd name="connsiteY0" fmla="*/ 44451 h 266700"/>
                  <a:gd name="connsiteX1" fmla="*/ 44451 w 438150"/>
                  <a:gd name="connsiteY1" fmla="*/ 0 h 266700"/>
                  <a:gd name="connsiteX2" fmla="*/ 393699 w 438150"/>
                  <a:gd name="connsiteY2" fmla="*/ 0 h 266700"/>
                  <a:gd name="connsiteX3" fmla="*/ 438150 w 438150"/>
                  <a:gd name="connsiteY3" fmla="*/ 44451 h 266700"/>
                  <a:gd name="connsiteX4" fmla="*/ 438150 w 438150"/>
                  <a:gd name="connsiteY4" fmla="*/ 222249 h 266700"/>
                  <a:gd name="connsiteX5" fmla="*/ 393699 w 438150"/>
                  <a:gd name="connsiteY5" fmla="*/ 266700 h 266700"/>
                  <a:gd name="connsiteX6" fmla="*/ 44451 w 438150"/>
                  <a:gd name="connsiteY6" fmla="*/ 266700 h 266700"/>
                  <a:gd name="connsiteX7" fmla="*/ 0 w 438150"/>
                  <a:gd name="connsiteY7" fmla="*/ 222249 h 266700"/>
                  <a:gd name="connsiteX8" fmla="*/ 0 w 438150"/>
                  <a:gd name="connsiteY8" fmla="*/ 44451 h 266700"/>
                  <a:gd name="connsiteX0" fmla="*/ 44451 w 438150"/>
                  <a:gd name="connsiteY0" fmla="*/ 0 h 266700"/>
                  <a:gd name="connsiteX1" fmla="*/ 393699 w 438150"/>
                  <a:gd name="connsiteY1" fmla="*/ 0 h 266700"/>
                  <a:gd name="connsiteX2" fmla="*/ 438150 w 438150"/>
                  <a:gd name="connsiteY2" fmla="*/ 44451 h 266700"/>
                  <a:gd name="connsiteX3" fmla="*/ 438150 w 438150"/>
                  <a:gd name="connsiteY3" fmla="*/ 222249 h 266700"/>
                  <a:gd name="connsiteX4" fmla="*/ 393699 w 438150"/>
                  <a:gd name="connsiteY4" fmla="*/ 266700 h 266700"/>
                  <a:gd name="connsiteX5" fmla="*/ 44451 w 438150"/>
                  <a:gd name="connsiteY5" fmla="*/ 266700 h 266700"/>
                  <a:gd name="connsiteX6" fmla="*/ 0 w 438150"/>
                  <a:gd name="connsiteY6" fmla="*/ 222249 h 266700"/>
                  <a:gd name="connsiteX7" fmla="*/ 0 w 438150"/>
                  <a:gd name="connsiteY7" fmla="*/ 44451 h 266700"/>
                  <a:gd name="connsiteX8" fmla="*/ 135891 w 438150"/>
                  <a:gd name="connsiteY8" fmla="*/ 91440 h 266700"/>
                  <a:gd name="connsiteX0" fmla="*/ 44451 w 438150"/>
                  <a:gd name="connsiteY0" fmla="*/ 0 h 266700"/>
                  <a:gd name="connsiteX1" fmla="*/ 393699 w 438150"/>
                  <a:gd name="connsiteY1" fmla="*/ 0 h 266700"/>
                  <a:gd name="connsiteX2" fmla="*/ 438150 w 438150"/>
                  <a:gd name="connsiteY2" fmla="*/ 44451 h 266700"/>
                  <a:gd name="connsiteX3" fmla="*/ 438150 w 438150"/>
                  <a:gd name="connsiteY3" fmla="*/ 222249 h 266700"/>
                  <a:gd name="connsiteX4" fmla="*/ 393699 w 438150"/>
                  <a:gd name="connsiteY4" fmla="*/ 266700 h 266700"/>
                  <a:gd name="connsiteX5" fmla="*/ 44451 w 438150"/>
                  <a:gd name="connsiteY5" fmla="*/ 266700 h 266700"/>
                  <a:gd name="connsiteX6" fmla="*/ 0 w 438150"/>
                  <a:gd name="connsiteY6" fmla="*/ 222249 h 266700"/>
                  <a:gd name="connsiteX7" fmla="*/ 0 w 438150"/>
                  <a:gd name="connsiteY7" fmla="*/ 44451 h 266700"/>
                  <a:gd name="connsiteX0" fmla="*/ 393699 w 438150"/>
                  <a:gd name="connsiteY0" fmla="*/ 0 h 266700"/>
                  <a:gd name="connsiteX1" fmla="*/ 438150 w 438150"/>
                  <a:gd name="connsiteY1" fmla="*/ 44451 h 266700"/>
                  <a:gd name="connsiteX2" fmla="*/ 438150 w 438150"/>
                  <a:gd name="connsiteY2" fmla="*/ 222249 h 266700"/>
                  <a:gd name="connsiteX3" fmla="*/ 393699 w 438150"/>
                  <a:gd name="connsiteY3" fmla="*/ 266700 h 266700"/>
                  <a:gd name="connsiteX4" fmla="*/ 44451 w 438150"/>
                  <a:gd name="connsiteY4" fmla="*/ 266700 h 266700"/>
                  <a:gd name="connsiteX5" fmla="*/ 0 w 438150"/>
                  <a:gd name="connsiteY5" fmla="*/ 222249 h 266700"/>
                  <a:gd name="connsiteX6" fmla="*/ 0 w 438150"/>
                  <a:gd name="connsiteY6" fmla="*/ 44451 h 266700"/>
                  <a:gd name="connsiteX0" fmla="*/ 438150 w 438150"/>
                  <a:gd name="connsiteY0" fmla="*/ 0 h 222249"/>
                  <a:gd name="connsiteX1" fmla="*/ 438150 w 438150"/>
                  <a:gd name="connsiteY1" fmla="*/ 177798 h 222249"/>
                  <a:gd name="connsiteX2" fmla="*/ 393699 w 438150"/>
                  <a:gd name="connsiteY2" fmla="*/ 222249 h 222249"/>
                  <a:gd name="connsiteX3" fmla="*/ 44451 w 438150"/>
                  <a:gd name="connsiteY3" fmla="*/ 222249 h 222249"/>
                  <a:gd name="connsiteX4" fmla="*/ 0 w 438150"/>
                  <a:gd name="connsiteY4" fmla="*/ 177798 h 222249"/>
                  <a:gd name="connsiteX5" fmla="*/ 0 w 438150"/>
                  <a:gd name="connsiteY5" fmla="*/ 0 h 222249"/>
                  <a:gd name="connsiteX0" fmla="*/ 438150 w 438150"/>
                  <a:gd name="connsiteY0" fmla="*/ 177798 h 222249"/>
                  <a:gd name="connsiteX1" fmla="*/ 393699 w 438150"/>
                  <a:gd name="connsiteY1" fmla="*/ 222249 h 222249"/>
                  <a:gd name="connsiteX2" fmla="*/ 44451 w 438150"/>
                  <a:gd name="connsiteY2" fmla="*/ 222249 h 222249"/>
                  <a:gd name="connsiteX3" fmla="*/ 0 w 438150"/>
                  <a:gd name="connsiteY3" fmla="*/ 177798 h 222249"/>
                  <a:gd name="connsiteX4" fmla="*/ 0 w 438150"/>
                  <a:gd name="connsiteY4" fmla="*/ 0 h 222249"/>
                  <a:gd name="connsiteX0" fmla="*/ 393699 w 393699"/>
                  <a:gd name="connsiteY0" fmla="*/ 222249 h 222249"/>
                  <a:gd name="connsiteX1" fmla="*/ 44451 w 393699"/>
                  <a:gd name="connsiteY1" fmla="*/ 222249 h 222249"/>
                  <a:gd name="connsiteX2" fmla="*/ 0 w 393699"/>
                  <a:gd name="connsiteY2" fmla="*/ 177798 h 222249"/>
                  <a:gd name="connsiteX3" fmla="*/ 0 w 393699"/>
                  <a:gd name="connsiteY3" fmla="*/ 0 h 222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93699" h="222249">
                    <a:moveTo>
                      <a:pt x="393699" y="222249"/>
                    </a:moveTo>
                    <a:lnTo>
                      <a:pt x="44451" y="222249"/>
                    </a:lnTo>
                    <a:cubicBezTo>
                      <a:pt x="19901" y="222249"/>
                      <a:pt x="0" y="202348"/>
                      <a:pt x="0" y="177798"/>
                    </a:cubicBezTo>
                    <a:lnTo>
                      <a:pt x="0" y="0"/>
                    </a:lnTo>
                  </a:path>
                </a:pathLst>
              </a:custGeom>
              <a:noFill/>
              <a:ln w="9525" cmpd="sng">
                <a:solidFill>
                  <a:schemeClr val="tx1">
                    <a:lumMod val="65000"/>
                    <a:lumOff val="3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en-US" kern="0">
                  <a:solidFill>
                    <a:srgbClr val="FFFFFF"/>
                  </a:solidFill>
                  <a:latin typeface="Honeywell Sans" panose="02010503040101060203" pitchFamily="50" charset="0"/>
                </a:endParaRPr>
              </a:p>
            </p:txBody>
          </p:sp>
          <p:sp>
            <p:nvSpPr>
              <p:cNvPr id="253" name="Rounded Rectangle 252"/>
              <p:cNvSpPr/>
              <p:nvPr/>
            </p:nvSpPr>
            <p:spPr>
              <a:xfrm>
                <a:off x="5484837" y="3357196"/>
                <a:ext cx="438152" cy="266700"/>
              </a:xfrm>
              <a:prstGeom prst="roundRect">
                <a:avLst/>
              </a:prstGeom>
              <a:solidFill>
                <a:schemeClr val="tx2"/>
              </a:solidFill>
              <a:ln w="9525" cmpd="sng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en-US" kern="0">
                  <a:solidFill>
                    <a:srgbClr val="FFFFFF"/>
                  </a:solidFill>
                  <a:latin typeface="Honeywell Sans" panose="02010503040101060203" pitchFamily="50" charset="0"/>
                </a:endParaRPr>
              </a:p>
            </p:txBody>
          </p:sp>
        </p:grpSp>
      </p:grpSp>
      <p:grpSp>
        <p:nvGrpSpPr>
          <p:cNvPr id="254" name="Group 253"/>
          <p:cNvGrpSpPr/>
          <p:nvPr/>
        </p:nvGrpSpPr>
        <p:grpSpPr>
          <a:xfrm>
            <a:off x="2302787" y="1110379"/>
            <a:ext cx="822960" cy="822960"/>
            <a:chOff x="1818238" y="1945159"/>
            <a:chExt cx="822960" cy="822960"/>
          </a:xfrm>
        </p:grpSpPr>
        <p:sp>
          <p:nvSpPr>
            <p:cNvPr id="255" name="Oval 254"/>
            <p:cNvSpPr/>
            <p:nvPr/>
          </p:nvSpPr>
          <p:spPr>
            <a:xfrm>
              <a:off x="1818238" y="1945159"/>
              <a:ext cx="822960" cy="822960"/>
            </a:xfrm>
            <a:prstGeom prst="ellipse">
              <a:avLst/>
            </a:prstGeom>
            <a:solidFill>
              <a:schemeClr val="bg1"/>
            </a:solidFill>
            <a:ln w="88900">
              <a:solidFill>
                <a:schemeClr val="accent3">
                  <a:alpha val="20000"/>
                </a:schemeClr>
              </a:solidFill>
            </a:ln>
            <a:effectLst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kern="0" dirty="0">
                <a:solidFill>
                  <a:srgbClr val="E1261C"/>
                </a:solidFill>
                <a:latin typeface="Honeywell Sans" panose="02010503040101060203" pitchFamily="50" charset="0"/>
              </a:endParaRPr>
            </a:p>
          </p:txBody>
        </p:sp>
        <p:grpSp>
          <p:nvGrpSpPr>
            <p:cNvPr id="256" name="Group 255"/>
            <p:cNvGrpSpPr/>
            <p:nvPr/>
          </p:nvGrpSpPr>
          <p:grpSpPr>
            <a:xfrm>
              <a:off x="1945407" y="2133364"/>
              <a:ext cx="565979" cy="494771"/>
              <a:chOff x="7478755" y="1495255"/>
              <a:chExt cx="2468784" cy="2055948"/>
            </a:xfrm>
          </p:grpSpPr>
          <p:grpSp>
            <p:nvGrpSpPr>
              <p:cNvPr id="257" name="Group 256"/>
              <p:cNvGrpSpPr/>
              <p:nvPr/>
            </p:nvGrpSpPr>
            <p:grpSpPr>
              <a:xfrm>
                <a:off x="7478755" y="1495255"/>
                <a:ext cx="2468784" cy="2055948"/>
                <a:chOff x="6485100" y="2524124"/>
                <a:chExt cx="3429000" cy="2855595"/>
              </a:xfrm>
            </p:grpSpPr>
            <p:sp>
              <p:nvSpPr>
                <p:cNvPr id="263" name="Freeform 262"/>
                <p:cNvSpPr/>
                <p:nvPr/>
              </p:nvSpPr>
              <p:spPr bwMode="auto">
                <a:xfrm>
                  <a:off x="6810375" y="3425084"/>
                  <a:ext cx="695326" cy="342054"/>
                </a:xfrm>
                <a:custGeom>
                  <a:avLst/>
                  <a:gdLst>
                    <a:gd name="connsiteX0" fmla="*/ 0 w 695325"/>
                    <a:gd name="connsiteY0" fmla="*/ 357188 h 357188"/>
                    <a:gd name="connsiteX1" fmla="*/ 376238 w 695325"/>
                    <a:gd name="connsiteY1" fmla="*/ 0 h 357188"/>
                    <a:gd name="connsiteX2" fmla="*/ 695325 w 695325"/>
                    <a:gd name="connsiteY2" fmla="*/ 195263 h 357188"/>
                    <a:gd name="connsiteX0" fmla="*/ 0 w 695325"/>
                    <a:gd name="connsiteY0" fmla="*/ 357188 h 357188"/>
                    <a:gd name="connsiteX1" fmla="*/ 376238 w 695325"/>
                    <a:gd name="connsiteY1" fmla="*/ 0 h 357188"/>
                    <a:gd name="connsiteX2" fmla="*/ 485191 w 695325"/>
                    <a:gd name="connsiteY2" fmla="*/ 21354 h 357188"/>
                    <a:gd name="connsiteX3" fmla="*/ 695325 w 695325"/>
                    <a:gd name="connsiteY3" fmla="*/ 195263 h 357188"/>
                    <a:gd name="connsiteX0" fmla="*/ 0 w 695325"/>
                    <a:gd name="connsiteY0" fmla="*/ 342054 h 342054"/>
                    <a:gd name="connsiteX1" fmla="*/ 358598 w 695325"/>
                    <a:gd name="connsiteY1" fmla="*/ 6915 h 342054"/>
                    <a:gd name="connsiteX2" fmla="*/ 485191 w 695325"/>
                    <a:gd name="connsiteY2" fmla="*/ 6220 h 342054"/>
                    <a:gd name="connsiteX3" fmla="*/ 695325 w 695325"/>
                    <a:gd name="connsiteY3" fmla="*/ 180129 h 3420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95325" h="342054">
                      <a:moveTo>
                        <a:pt x="0" y="342054"/>
                      </a:moveTo>
                      <a:lnTo>
                        <a:pt x="358598" y="6915"/>
                      </a:lnTo>
                      <a:cubicBezTo>
                        <a:pt x="387566" y="28733"/>
                        <a:pt x="456223" y="-15598"/>
                        <a:pt x="485191" y="6220"/>
                      </a:cubicBezTo>
                      <a:lnTo>
                        <a:pt x="695325" y="180129"/>
                      </a:lnTo>
                    </a:path>
                  </a:pathLst>
                </a:custGeom>
                <a:noFill/>
                <a:ln w="6350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0005FF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horz" wrap="none" lIns="90488" tIns="44450" rIns="90488" bIns="4445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lnSpc>
                      <a:spcPct val="110000"/>
                    </a:lnSpc>
                    <a:defRPr/>
                  </a:pPr>
                  <a:endParaRPr lang="en-US" sz="5400" b="1" kern="0">
                    <a:solidFill>
                      <a:srgbClr val="000000"/>
                    </a:solidFill>
                    <a:latin typeface="Honeywell Sans" panose="02010503040101060203" pitchFamily="50" charset="0"/>
                    <a:cs typeface="Arial" pitchFamily="34" charset="0"/>
                  </a:endParaRPr>
                </a:p>
              </p:txBody>
            </p:sp>
            <p:sp>
              <p:nvSpPr>
                <p:cNvPr id="264" name="Freeform 263"/>
                <p:cNvSpPr/>
                <p:nvPr/>
              </p:nvSpPr>
              <p:spPr bwMode="auto">
                <a:xfrm>
                  <a:off x="7892347" y="3119438"/>
                  <a:ext cx="1461203" cy="509586"/>
                </a:xfrm>
                <a:custGeom>
                  <a:avLst/>
                  <a:gdLst>
                    <a:gd name="connsiteX0" fmla="*/ 0 w 1509712"/>
                    <a:gd name="connsiteY0" fmla="*/ 366712 h 509587"/>
                    <a:gd name="connsiteX1" fmla="*/ 138112 w 1509712"/>
                    <a:gd name="connsiteY1" fmla="*/ 185737 h 509587"/>
                    <a:gd name="connsiteX2" fmla="*/ 219075 w 1509712"/>
                    <a:gd name="connsiteY2" fmla="*/ 180975 h 509587"/>
                    <a:gd name="connsiteX3" fmla="*/ 490537 w 1509712"/>
                    <a:gd name="connsiteY3" fmla="*/ 500062 h 509587"/>
                    <a:gd name="connsiteX4" fmla="*/ 619125 w 1509712"/>
                    <a:gd name="connsiteY4" fmla="*/ 509587 h 509587"/>
                    <a:gd name="connsiteX5" fmla="*/ 776287 w 1509712"/>
                    <a:gd name="connsiteY5" fmla="*/ 257175 h 509587"/>
                    <a:gd name="connsiteX6" fmla="*/ 900112 w 1509712"/>
                    <a:gd name="connsiteY6" fmla="*/ 214312 h 509587"/>
                    <a:gd name="connsiteX7" fmla="*/ 1181100 w 1509712"/>
                    <a:gd name="connsiteY7" fmla="*/ 347662 h 509587"/>
                    <a:gd name="connsiteX8" fmla="*/ 1257300 w 1509712"/>
                    <a:gd name="connsiteY8" fmla="*/ 300037 h 509587"/>
                    <a:gd name="connsiteX9" fmla="*/ 1309687 w 1509712"/>
                    <a:gd name="connsiteY9" fmla="*/ 304800 h 509587"/>
                    <a:gd name="connsiteX10" fmla="*/ 1509712 w 1509712"/>
                    <a:gd name="connsiteY10" fmla="*/ 0 h 509587"/>
                    <a:gd name="connsiteX0" fmla="*/ 0 w 1461203"/>
                    <a:gd name="connsiteY0" fmla="*/ 375532 h 509587"/>
                    <a:gd name="connsiteX1" fmla="*/ 89603 w 1461203"/>
                    <a:gd name="connsiteY1" fmla="*/ 185737 h 509587"/>
                    <a:gd name="connsiteX2" fmla="*/ 170566 w 1461203"/>
                    <a:gd name="connsiteY2" fmla="*/ 180975 h 509587"/>
                    <a:gd name="connsiteX3" fmla="*/ 442028 w 1461203"/>
                    <a:gd name="connsiteY3" fmla="*/ 500062 h 509587"/>
                    <a:gd name="connsiteX4" fmla="*/ 570616 w 1461203"/>
                    <a:gd name="connsiteY4" fmla="*/ 509587 h 509587"/>
                    <a:gd name="connsiteX5" fmla="*/ 727778 w 1461203"/>
                    <a:gd name="connsiteY5" fmla="*/ 257175 h 509587"/>
                    <a:gd name="connsiteX6" fmla="*/ 851603 w 1461203"/>
                    <a:gd name="connsiteY6" fmla="*/ 214312 h 509587"/>
                    <a:gd name="connsiteX7" fmla="*/ 1132591 w 1461203"/>
                    <a:gd name="connsiteY7" fmla="*/ 347662 h 509587"/>
                    <a:gd name="connsiteX8" fmla="*/ 1208791 w 1461203"/>
                    <a:gd name="connsiteY8" fmla="*/ 300037 h 509587"/>
                    <a:gd name="connsiteX9" fmla="*/ 1261178 w 1461203"/>
                    <a:gd name="connsiteY9" fmla="*/ 304800 h 509587"/>
                    <a:gd name="connsiteX10" fmla="*/ 1461203 w 1461203"/>
                    <a:gd name="connsiteY10" fmla="*/ 0 h 5095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461203" h="509587">
                      <a:moveTo>
                        <a:pt x="0" y="375532"/>
                      </a:moveTo>
                      <a:lnTo>
                        <a:pt x="89603" y="185737"/>
                      </a:lnTo>
                      <a:lnTo>
                        <a:pt x="170566" y="180975"/>
                      </a:lnTo>
                      <a:lnTo>
                        <a:pt x="442028" y="500062"/>
                      </a:lnTo>
                      <a:lnTo>
                        <a:pt x="570616" y="509587"/>
                      </a:lnTo>
                      <a:lnTo>
                        <a:pt x="727778" y="257175"/>
                      </a:lnTo>
                      <a:lnTo>
                        <a:pt x="851603" y="214312"/>
                      </a:lnTo>
                      <a:lnTo>
                        <a:pt x="1132591" y="347662"/>
                      </a:lnTo>
                      <a:lnTo>
                        <a:pt x="1208791" y="300037"/>
                      </a:lnTo>
                      <a:lnTo>
                        <a:pt x="1261178" y="304800"/>
                      </a:lnTo>
                      <a:lnTo>
                        <a:pt x="1461203" y="0"/>
                      </a:lnTo>
                    </a:path>
                  </a:pathLst>
                </a:custGeom>
                <a:noFill/>
                <a:ln w="6350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0005FF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horz" wrap="none" lIns="90488" tIns="44450" rIns="90488" bIns="4445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lnSpc>
                      <a:spcPct val="110000"/>
                    </a:lnSpc>
                    <a:defRPr/>
                  </a:pPr>
                  <a:endParaRPr lang="en-US" sz="5400" b="1" kern="0">
                    <a:solidFill>
                      <a:srgbClr val="000000"/>
                    </a:solidFill>
                    <a:latin typeface="Honeywell Sans" panose="02010503040101060203" pitchFamily="50" charset="0"/>
                    <a:cs typeface="Arial" pitchFamily="34" charset="0"/>
                  </a:endParaRPr>
                </a:p>
              </p:txBody>
            </p:sp>
            <p:sp>
              <p:nvSpPr>
                <p:cNvPr id="265" name="Freeform 264"/>
                <p:cNvSpPr/>
                <p:nvPr/>
              </p:nvSpPr>
              <p:spPr bwMode="auto">
                <a:xfrm>
                  <a:off x="7486653" y="3513135"/>
                  <a:ext cx="470430" cy="273052"/>
                </a:xfrm>
                <a:custGeom>
                  <a:avLst/>
                  <a:gdLst>
                    <a:gd name="connsiteX0" fmla="*/ 0 w 457200"/>
                    <a:gd name="connsiteY0" fmla="*/ 104775 h 233363"/>
                    <a:gd name="connsiteX1" fmla="*/ 166688 w 457200"/>
                    <a:gd name="connsiteY1" fmla="*/ 233363 h 233363"/>
                    <a:gd name="connsiteX2" fmla="*/ 280988 w 457200"/>
                    <a:gd name="connsiteY2" fmla="*/ 157163 h 233363"/>
                    <a:gd name="connsiteX3" fmla="*/ 390525 w 457200"/>
                    <a:gd name="connsiteY3" fmla="*/ 190500 h 233363"/>
                    <a:gd name="connsiteX4" fmla="*/ 457200 w 457200"/>
                    <a:gd name="connsiteY4" fmla="*/ 0 h 233363"/>
                    <a:gd name="connsiteX0" fmla="*/ 0 w 470430"/>
                    <a:gd name="connsiteY0" fmla="*/ 144464 h 273052"/>
                    <a:gd name="connsiteX1" fmla="*/ 166688 w 470430"/>
                    <a:gd name="connsiteY1" fmla="*/ 273052 h 273052"/>
                    <a:gd name="connsiteX2" fmla="*/ 280988 w 470430"/>
                    <a:gd name="connsiteY2" fmla="*/ 196852 h 273052"/>
                    <a:gd name="connsiteX3" fmla="*/ 390525 w 470430"/>
                    <a:gd name="connsiteY3" fmla="*/ 230189 h 273052"/>
                    <a:gd name="connsiteX4" fmla="*/ 470430 w 470430"/>
                    <a:gd name="connsiteY4" fmla="*/ 0 h 2730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70430" h="273052">
                      <a:moveTo>
                        <a:pt x="0" y="144464"/>
                      </a:moveTo>
                      <a:lnTo>
                        <a:pt x="166688" y="273052"/>
                      </a:lnTo>
                      <a:lnTo>
                        <a:pt x="280988" y="196852"/>
                      </a:lnTo>
                      <a:lnTo>
                        <a:pt x="390525" y="230189"/>
                      </a:lnTo>
                      <a:lnTo>
                        <a:pt x="470430" y="0"/>
                      </a:lnTo>
                    </a:path>
                  </a:pathLst>
                </a:custGeom>
                <a:noFill/>
                <a:ln w="19050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0005FF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horz" wrap="none" lIns="90488" tIns="44450" rIns="90488" bIns="4445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lnSpc>
                      <a:spcPct val="110000"/>
                    </a:lnSpc>
                    <a:defRPr/>
                  </a:pPr>
                  <a:endParaRPr lang="en-US" sz="5400" b="1" kern="0">
                    <a:solidFill>
                      <a:srgbClr val="000000"/>
                    </a:solidFill>
                    <a:latin typeface="Honeywell Sans" panose="02010503040101060203" pitchFamily="50" charset="0"/>
                    <a:cs typeface="Arial" pitchFamily="34" charset="0"/>
                  </a:endParaRPr>
                </a:p>
              </p:txBody>
            </p:sp>
            <p:sp>
              <p:nvSpPr>
                <p:cNvPr id="266" name="Rounded Rectangle 265"/>
                <p:cNvSpPr/>
                <p:nvPr/>
              </p:nvSpPr>
              <p:spPr bwMode="auto">
                <a:xfrm rot="2710798">
                  <a:off x="7959313" y="4333509"/>
                  <a:ext cx="713353" cy="152400"/>
                </a:xfrm>
                <a:prstGeom prst="roundRect">
                  <a:avLst>
                    <a:gd name="adj" fmla="val 0"/>
                  </a:avLst>
                </a:prstGeom>
                <a:solidFill>
                  <a:schemeClr val="tx2"/>
                </a:solidFill>
                <a:ln>
                  <a:noFill/>
                </a:ln>
                <a:effectLst/>
                <a:extLst/>
              </p:spPr>
              <p:txBody>
                <a:bodyPr vert="horz" wrap="none" lIns="90488" tIns="44450" rIns="90488" bIns="4445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lnSpc>
                      <a:spcPct val="110000"/>
                    </a:lnSpc>
                    <a:defRPr/>
                  </a:pPr>
                  <a:endParaRPr lang="en-US" b="1" kern="0" dirty="0">
                    <a:solidFill>
                      <a:srgbClr val="000000"/>
                    </a:solidFill>
                    <a:latin typeface="Honeywell Sans" panose="02010503040101060203" pitchFamily="50" charset="0"/>
                    <a:cs typeface="Arial" pitchFamily="34" charset="0"/>
                  </a:endParaRPr>
                </a:p>
              </p:txBody>
            </p:sp>
            <p:sp>
              <p:nvSpPr>
                <p:cNvPr id="267" name="Frame 266"/>
                <p:cNvSpPr/>
                <p:nvPr/>
              </p:nvSpPr>
              <p:spPr bwMode="auto">
                <a:xfrm>
                  <a:off x="6485100" y="2524124"/>
                  <a:ext cx="3429000" cy="2200280"/>
                </a:xfrm>
                <a:prstGeom prst="frame">
                  <a:avLst>
                    <a:gd name="adj1" fmla="val 6452"/>
                  </a:avLst>
                </a:prstGeom>
                <a:solidFill>
                  <a:schemeClr val="tx1">
                    <a:lumMod val="65000"/>
                    <a:lumOff val="35000"/>
                  </a:schemeClr>
                </a:solidFill>
                <a:ln>
                  <a:noFill/>
                </a:ln>
                <a:effectLst/>
                <a:extLst/>
              </p:spPr>
              <p:txBody>
                <a:bodyPr vert="horz" wrap="none" lIns="90488" tIns="44450" rIns="90488" bIns="4445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lnSpc>
                      <a:spcPct val="110000"/>
                    </a:lnSpc>
                    <a:defRPr/>
                  </a:pPr>
                  <a:endParaRPr lang="en-US" b="1" kern="0" dirty="0">
                    <a:solidFill>
                      <a:srgbClr val="000000"/>
                    </a:solidFill>
                    <a:latin typeface="Honeywell Sans" panose="02010503040101060203" pitchFamily="50" charset="0"/>
                    <a:cs typeface="Arial" pitchFamily="34" charset="0"/>
                  </a:endParaRPr>
                </a:p>
              </p:txBody>
            </p:sp>
            <p:sp>
              <p:nvSpPr>
                <p:cNvPr id="268" name="Trapezoid 267"/>
                <p:cNvSpPr/>
                <p:nvPr/>
              </p:nvSpPr>
              <p:spPr bwMode="auto">
                <a:xfrm>
                  <a:off x="7791452" y="4695830"/>
                  <a:ext cx="771523" cy="638177"/>
                </a:xfrm>
                <a:prstGeom prst="trapezoid">
                  <a:avLst>
                    <a:gd name="adj" fmla="val 8582"/>
                  </a:avLst>
                </a:prstGeom>
                <a:solidFill>
                  <a:schemeClr val="tx1">
                    <a:lumMod val="65000"/>
                    <a:lumOff val="35000"/>
                  </a:schemeClr>
                </a:solidFill>
                <a:ln>
                  <a:noFill/>
                </a:ln>
                <a:effectLst/>
                <a:extLst/>
              </p:spPr>
              <p:txBody>
                <a:bodyPr vert="horz" wrap="none" lIns="90488" tIns="44450" rIns="90488" bIns="4445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lnSpc>
                      <a:spcPct val="110000"/>
                    </a:lnSpc>
                    <a:defRPr/>
                  </a:pPr>
                  <a:endParaRPr lang="en-US" b="1" kern="0" dirty="0">
                    <a:solidFill>
                      <a:srgbClr val="000000"/>
                    </a:solidFill>
                    <a:latin typeface="Honeywell Sans" panose="02010503040101060203" pitchFamily="50" charset="0"/>
                    <a:cs typeface="Arial" pitchFamily="34" charset="0"/>
                  </a:endParaRPr>
                </a:p>
              </p:txBody>
            </p:sp>
            <p:sp>
              <p:nvSpPr>
                <p:cNvPr id="269" name="Rectangle 268"/>
                <p:cNvSpPr/>
                <p:nvPr/>
              </p:nvSpPr>
              <p:spPr bwMode="auto">
                <a:xfrm>
                  <a:off x="7620000" y="5334000"/>
                  <a:ext cx="1143000" cy="45719"/>
                </a:xfrm>
                <a:prstGeom prst="rect">
                  <a:avLst/>
                </a:prstGeom>
                <a:solidFill>
                  <a:schemeClr val="tx1">
                    <a:lumMod val="65000"/>
                    <a:lumOff val="35000"/>
                  </a:schemeClr>
                </a:solidFill>
                <a:ln>
                  <a:noFill/>
                </a:ln>
                <a:effectLst/>
                <a:extLst/>
              </p:spPr>
              <p:txBody>
                <a:bodyPr vert="horz" wrap="none" lIns="90488" tIns="44450" rIns="90488" bIns="4445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lnSpc>
                      <a:spcPct val="110000"/>
                    </a:lnSpc>
                    <a:defRPr/>
                  </a:pPr>
                  <a:endParaRPr lang="en-US" b="1" kern="0" dirty="0">
                    <a:solidFill>
                      <a:srgbClr val="000000"/>
                    </a:solidFill>
                    <a:latin typeface="Honeywell Sans" panose="02010503040101060203" pitchFamily="50" charset="0"/>
                    <a:cs typeface="Arial" pitchFamily="34" charset="0"/>
                  </a:endParaRPr>
                </a:p>
              </p:txBody>
            </p:sp>
            <p:sp>
              <p:nvSpPr>
                <p:cNvPr id="270" name="Donut 269"/>
                <p:cNvSpPr/>
                <p:nvPr/>
              </p:nvSpPr>
              <p:spPr bwMode="auto">
                <a:xfrm>
                  <a:off x="6672262" y="3724276"/>
                  <a:ext cx="228600" cy="228600"/>
                </a:xfrm>
                <a:prstGeom prst="donut">
                  <a:avLst>
                    <a:gd name="adj" fmla="val 33203"/>
                  </a:avLst>
                </a:prstGeom>
                <a:solidFill>
                  <a:schemeClr val="tx1">
                    <a:lumMod val="65000"/>
                    <a:lumOff val="35000"/>
                  </a:schemeClr>
                </a:solidFill>
                <a:ln>
                  <a:noFill/>
                </a:ln>
                <a:effectLst/>
                <a:extLst/>
              </p:spPr>
              <p:txBody>
                <a:bodyPr vert="horz" wrap="none" lIns="90488" tIns="44450" rIns="90488" bIns="4445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lnSpc>
                      <a:spcPct val="110000"/>
                    </a:lnSpc>
                    <a:defRPr/>
                  </a:pPr>
                  <a:endParaRPr lang="en-US" b="1" kern="0" dirty="0">
                    <a:solidFill>
                      <a:srgbClr val="000000"/>
                    </a:solidFill>
                    <a:latin typeface="Honeywell Sans" panose="02010503040101060203" pitchFamily="50" charset="0"/>
                    <a:cs typeface="Arial" pitchFamily="34" charset="0"/>
                  </a:endParaRPr>
                </a:p>
              </p:txBody>
            </p:sp>
            <p:sp>
              <p:nvSpPr>
                <p:cNvPr id="271" name="Donut 270"/>
                <p:cNvSpPr/>
                <p:nvPr/>
              </p:nvSpPr>
              <p:spPr bwMode="auto">
                <a:xfrm>
                  <a:off x="7105650" y="3252788"/>
                  <a:ext cx="228600" cy="228600"/>
                </a:xfrm>
                <a:prstGeom prst="donut">
                  <a:avLst>
                    <a:gd name="adj" fmla="val 33203"/>
                  </a:avLst>
                </a:prstGeom>
                <a:solidFill>
                  <a:schemeClr val="tx1">
                    <a:lumMod val="65000"/>
                    <a:lumOff val="35000"/>
                  </a:schemeClr>
                </a:solidFill>
                <a:ln>
                  <a:noFill/>
                </a:ln>
                <a:effectLst/>
                <a:extLst/>
              </p:spPr>
              <p:txBody>
                <a:bodyPr vert="horz" wrap="none" lIns="90488" tIns="44450" rIns="90488" bIns="4445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lnSpc>
                      <a:spcPct val="110000"/>
                    </a:lnSpc>
                    <a:defRPr/>
                  </a:pPr>
                  <a:endParaRPr lang="en-US" b="1" kern="0" dirty="0">
                    <a:solidFill>
                      <a:srgbClr val="000000"/>
                    </a:solidFill>
                    <a:latin typeface="Honeywell Sans" panose="02010503040101060203" pitchFamily="50" charset="0"/>
                    <a:cs typeface="Arial" pitchFamily="34" charset="0"/>
                  </a:endParaRPr>
                </a:p>
              </p:txBody>
            </p:sp>
            <p:sp>
              <p:nvSpPr>
                <p:cNvPr id="272" name="Donut 271"/>
                <p:cNvSpPr/>
                <p:nvPr/>
              </p:nvSpPr>
              <p:spPr bwMode="auto">
                <a:xfrm>
                  <a:off x="7600949" y="3652837"/>
                  <a:ext cx="371476" cy="371476"/>
                </a:xfrm>
                <a:prstGeom prst="donut">
                  <a:avLst>
                    <a:gd name="adj" fmla="val 33203"/>
                  </a:avLst>
                </a:prstGeom>
                <a:solidFill>
                  <a:schemeClr val="tx1">
                    <a:lumMod val="65000"/>
                    <a:lumOff val="35000"/>
                  </a:schemeClr>
                </a:solidFill>
                <a:ln>
                  <a:noFill/>
                </a:ln>
                <a:effectLst/>
                <a:extLst/>
              </p:spPr>
              <p:txBody>
                <a:bodyPr vert="horz" wrap="none" lIns="90488" tIns="44450" rIns="90488" bIns="4445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lnSpc>
                      <a:spcPct val="110000"/>
                    </a:lnSpc>
                    <a:defRPr/>
                  </a:pPr>
                  <a:endParaRPr lang="en-US" b="1" kern="0" dirty="0">
                    <a:solidFill>
                      <a:srgbClr val="000000"/>
                    </a:solidFill>
                    <a:latin typeface="Honeywell Sans" panose="02010503040101060203" pitchFamily="50" charset="0"/>
                    <a:cs typeface="Arial" pitchFamily="34" charset="0"/>
                  </a:endParaRPr>
                </a:p>
              </p:txBody>
            </p:sp>
            <p:sp>
              <p:nvSpPr>
                <p:cNvPr id="273" name="Donut 272"/>
                <p:cNvSpPr/>
                <p:nvPr/>
              </p:nvSpPr>
              <p:spPr bwMode="auto">
                <a:xfrm>
                  <a:off x="7886700" y="3133726"/>
                  <a:ext cx="228600" cy="228600"/>
                </a:xfrm>
                <a:prstGeom prst="donut">
                  <a:avLst>
                    <a:gd name="adj" fmla="val 33203"/>
                  </a:avLst>
                </a:prstGeom>
                <a:solidFill>
                  <a:schemeClr val="tx1">
                    <a:lumMod val="65000"/>
                    <a:lumOff val="35000"/>
                  </a:schemeClr>
                </a:solidFill>
                <a:ln>
                  <a:noFill/>
                </a:ln>
                <a:effectLst/>
                <a:extLst/>
              </p:spPr>
              <p:txBody>
                <a:bodyPr vert="horz" wrap="none" lIns="90488" tIns="44450" rIns="90488" bIns="4445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lnSpc>
                      <a:spcPct val="110000"/>
                    </a:lnSpc>
                    <a:defRPr/>
                  </a:pPr>
                  <a:endParaRPr lang="en-US" b="1" kern="0" dirty="0">
                    <a:solidFill>
                      <a:srgbClr val="000000"/>
                    </a:solidFill>
                    <a:latin typeface="Honeywell Sans" panose="02010503040101060203" pitchFamily="50" charset="0"/>
                    <a:cs typeface="Arial" pitchFamily="34" charset="0"/>
                  </a:endParaRPr>
                </a:p>
              </p:txBody>
            </p:sp>
            <p:sp>
              <p:nvSpPr>
                <p:cNvPr id="274" name="Donut 273"/>
                <p:cNvSpPr/>
                <p:nvPr/>
              </p:nvSpPr>
              <p:spPr bwMode="auto">
                <a:xfrm>
                  <a:off x="8272463" y="3571876"/>
                  <a:ext cx="228600" cy="228600"/>
                </a:xfrm>
                <a:prstGeom prst="donut">
                  <a:avLst>
                    <a:gd name="adj" fmla="val 33203"/>
                  </a:avLst>
                </a:prstGeom>
                <a:solidFill>
                  <a:schemeClr val="tx1">
                    <a:lumMod val="65000"/>
                    <a:lumOff val="35000"/>
                  </a:schemeClr>
                </a:solidFill>
                <a:ln>
                  <a:noFill/>
                </a:ln>
                <a:effectLst/>
                <a:extLst/>
              </p:spPr>
              <p:txBody>
                <a:bodyPr vert="horz" wrap="none" lIns="90488" tIns="44450" rIns="90488" bIns="4445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lnSpc>
                      <a:spcPct val="110000"/>
                    </a:lnSpc>
                    <a:defRPr/>
                  </a:pPr>
                  <a:endParaRPr lang="en-US" b="1" kern="0" dirty="0">
                    <a:solidFill>
                      <a:srgbClr val="000000"/>
                    </a:solidFill>
                    <a:latin typeface="Honeywell Sans" panose="02010503040101060203" pitchFamily="50" charset="0"/>
                    <a:cs typeface="Arial" pitchFamily="34" charset="0"/>
                  </a:endParaRPr>
                </a:p>
              </p:txBody>
            </p:sp>
            <p:sp>
              <p:nvSpPr>
                <p:cNvPr id="275" name="Donut 274"/>
                <p:cNvSpPr/>
                <p:nvPr/>
              </p:nvSpPr>
              <p:spPr bwMode="auto">
                <a:xfrm>
                  <a:off x="8553450" y="3205164"/>
                  <a:ext cx="228600" cy="228600"/>
                </a:xfrm>
                <a:prstGeom prst="donut">
                  <a:avLst>
                    <a:gd name="adj" fmla="val 33203"/>
                  </a:avLst>
                </a:prstGeom>
                <a:solidFill>
                  <a:schemeClr val="tx1">
                    <a:lumMod val="65000"/>
                    <a:lumOff val="35000"/>
                  </a:schemeClr>
                </a:solidFill>
                <a:ln>
                  <a:noFill/>
                </a:ln>
                <a:effectLst/>
                <a:extLst/>
              </p:spPr>
              <p:txBody>
                <a:bodyPr vert="horz" wrap="none" lIns="90488" tIns="44450" rIns="90488" bIns="4445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lnSpc>
                      <a:spcPct val="110000"/>
                    </a:lnSpc>
                    <a:defRPr/>
                  </a:pPr>
                  <a:endParaRPr lang="en-US" b="1" kern="0" dirty="0">
                    <a:solidFill>
                      <a:srgbClr val="000000"/>
                    </a:solidFill>
                    <a:latin typeface="Honeywell Sans" panose="02010503040101060203" pitchFamily="50" charset="0"/>
                    <a:cs typeface="Arial" pitchFamily="34" charset="0"/>
                  </a:endParaRPr>
                </a:p>
              </p:txBody>
            </p:sp>
            <p:sp>
              <p:nvSpPr>
                <p:cNvPr id="276" name="Donut 275"/>
                <p:cNvSpPr/>
                <p:nvPr/>
              </p:nvSpPr>
              <p:spPr bwMode="auto">
                <a:xfrm>
                  <a:off x="8982075" y="3376614"/>
                  <a:ext cx="228600" cy="228600"/>
                </a:xfrm>
                <a:prstGeom prst="donut">
                  <a:avLst>
                    <a:gd name="adj" fmla="val 33203"/>
                  </a:avLst>
                </a:prstGeom>
                <a:solidFill>
                  <a:schemeClr val="tx1">
                    <a:lumMod val="65000"/>
                    <a:lumOff val="35000"/>
                  </a:schemeClr>
                </a:solidFill>
                <a:ln>
                  <a:noFill/>
                </a:ln>
                <a:effectLst/>
                <a:extLst/>
              </p:spPr>
              <p:txBody>
                <a:bodyPr vert="horz" wrap="none" lIns="90488" tIns="44450" rIns="90488" bIns="4445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lnSpc>
                      <a:spcPct val="110000"/>
                    </a:lnSpc>
                    <a:defRPr/>
                  </a:pPr>
                  <a:endParaRPr lang="en-US" b="1" kern="0" dirty="0">
                    <a:solidFill>
                      <a:srgbClr val="000000"/>
                    </a:solidFill>
                    <a:latin typeface="Honeywell Sans" panose="02010503040101060203" pitchFamily="50" charset="0"/>
                    <a:cs typeface="Arial" pitchFamily="34" charset="0"/>
                  </a:endParaRPr>
                </a:p>
              </p:txBody>
            </p:sp>
            <p:sp>
              <p:nvSpPr>
                <p:cNvPr id="277" name="Donut 276"/>
                <p:cNvSpPr/>
                <p:nvPr/>
              </p:nvSpPr>
              <p:spPr bwMode="auto">
                <a:xfrm>
                  <a:off x="9267825" y="2938464"/>
                  <a:ext cx="228600" cy="228600"/>
                </a:xfrm>
                <a:prstGeom prst="donut">
                  <a:avLst>
                    <a:gd name="adj" fmla="val 33203"/>
                  </a:avLst>
                </a:prstGeom>
                <a:solidFill>
                  <a:schemeClr val="tx1">
                    <a:lumMod val="65000"/>
                    <a:lumOff val="35000"/>
                  </a:schemeClr>
                </a:solidFill>
                <a:ln>
                  <a:noFill/>
                </a:ln>
                <a:effectLst/>
                <a:extLst/>
              </p:spPr>
              <p:txBody>
                <a:bodyPr vert="horz" wrap="none" lIns="90488" tIns="44450" rIns="90488" bIns="4445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lnSpc>
                      <a:spcPct val="110000"/>
                    </a:lnSpc>
                    <a:defRPr/>
                  </a:pPr>
                  <a:endParaRPr lang="en-US" b="1" kern="0" dirty="0">
                    <a:solidFill>
                      <a:srgbClr val="000000"/>
                    </a:solidFill>
                    <a:latin typeface="Honeywell Sans" panose="02010503040101060203" pitchFamily="50" charset="0"/>
                    <a:cs typeface="Arial" pitchFamily="34" charset="0"/>
                  </a:endParaRPr>
                </a:p>
              </p:txBody>
            </p:sp>
            <p:sp>
              <p:nvSpPr>
                <p:cNvPr id="278" name="Donut 277"/>
                <p:cNvSpPr/>
                <p:nvPr/>
              </p:nvSpPr>
              <p:spPr bwMode="auto">
                <a:xfrm>
                  <a:off x="7394733" y="3481388"/>
                  <a:ext cx="800098" cy="800098"/>
                </a:xfrm>
                <a:prstGeom prst="donut">
                  <a:avLst>
                    <a:gd name="adj" fmla="val 2236"/>
                  </a:avLst>
                </a:prstGeom>
                <a:solidFill>
                  <a:schemeClr val="tx2"/>
                </a:solidFill>
                <a:ln>
                  <a:noFill/>
                </a:ln>
                <a:effectLst/>
                <a:extLst/>
              </p:spPr>
              <p:txBody>
                <a:bodyPr vert="horz" wrap="none" lIns="90488" tIns="44450" rIns="90488" bIns="4445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lnSpc>
                      <a:spcPct val="110000"/>
                    </a:lnSpc>
                    <a:defRPr/>
                  </a:pPr>
                  <a:endParaRPr lang="en-US" b="1" kern="0" dirty="0">
                    <a:solidFill>
                      <a:srgbClr val="000000"/>
                    </a:solidFill>
                    <a:latin typeface="Honeywell Sans" panose="02010503040101060203" pitchFamily="50" charset="0"/>
                    <a:cs typeface="Arial" pitchFamily="34" charset="0"/>
                  </a:endParaRPr>
                </a:p>
              </p:txBody>
            </p:sp>
          </p:grpSp>
          <p:sp>
            <p:nvSpPr>
              <p:cNvPr id="258" name="Rectangle 257"/>
              <p:cNvSpPr/>
              <p:nvPr/>
            </p:nvSpPr>
            <p:spPr>
              <a:xfrm>
                <a:off x="7613507" y="1640399"/>
                <a:ext cx="164586" cy="15317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9525" cmpd="sng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en-US" kern="0">
                  <a:solidFill>
                    <a:srgbClr val="FFFFFF"/>
                  </a:solidFill>
                  <a:latin typeface="Honeywell Sans" panose="02010503040101060203" pitchFamily="50" charset="0"/>
                </a:endParaRPr>
              </a:p>
            </p:txBody>
          </p:sp>
          <p:cxnSp>
            <p:nvCxnSpPr>
              <p:cNvPr id="259" name="Straight Connector 258"/>
              <p:cNvCxnSpPr/>
              <p:nvPr/>
            </p:nvCxnSpPr>
            <p:spPr>
              <a:xfrm>
                <a:off x="7822556" y="1654686"/>
                <a:ext cx="639762" cy="0"/>
              </a:xfrm>
              <a:prstGeom prst="line">
                <a:avLst/>
              </a:prstGeom>
              <a:ln w="3175" cmpd="sng">
                <a:solidFill>
                  <a:schemeClr val="bg1">
                    <a:lumMod val="50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0" name="Straight Connector 259"/>
              <p:cNvCxnSpPr/>
              <p:nvPr/>
            </p:nvCxnSpPr>
            <p:spPr>
              <a:xfrm>
                <a:off x="7822556" y="1688023"/>
                <a:ext cx="576262" cy="0"/>
              </a:xfrm>
              <a:prstGeom prst="line">
                <a:avLst/>
              </a:prstGeom>
              <a:ln w="3175" cmpd="sng">
                <a:solidFill>
                  <a:schemeClr val="bg1">
                    <a:lumMod val="50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1" name="Straight Connector 260"/>
              <p:cNvCxnSpPr/>
              <p:nvPr/>
            </p:nvCxnSpPr>
            <p:spPr>
              <a:xfrm>
                <a:off x="7822556" y="1730886"/>
                <a:ext cx="528637" cy="0"/>
              </a:xfrm>
              <a:prstGeom prst="line">
                <a:avLst/>
              </a:prstGeom>
              <a:ln w="3175" cmpd="sng">
                <a:solidFill>
                  <a:schemeClr val="bg1">
                    <a:lumMod val="50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2" name="Straight Connector 261"/>
              <p:cNvCxnSpPr/>
              <p:nvPr/>
            </p:nvCxnSpPr>
            <p:spPr>
              <a:xfrm>
                <a:off x="7822556" y="1773748"/>
                <a:ext cx="465137" cy="0"/>
              </a:xfrm>
              <a:prstGeom prst="line">
                <a:avLst/>
              </a:prstGeom>
              <a:ln w="3175" cmpd="sng">
                <a:solidFill>
                  <a:schemeClr val="bg1">
                    <a:lumMod val="50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279" name="Group 278"/>
          <p:cNvGrpSpPr/>
          <p:nvPr/>
        </p:nvGrpSpPr>
        <p:grpSpPr>
          <a:xfrm>
            <a:off x="1378595" y="4041412"/>
            <a:ext cx="822959" cy="830952"/>
            <a:chOff x="1539303" y="4415854"/>
            <a:chExt cx="822959" cy="830952"/>
          </a:xfrm>
        </p:grpSpPr>
        <p:sp>
          <p:nvSpPr>
            <p:cNvPr id="280" name="Oval 279"/>
            <p:cNvSpPr/>
            <p:nvPr/>
          </p:nvSpPr>
          <p:spPr>
            <a:xfrm>
              <a:off x="1539303" y="4423846"/>
              <a:ext cx="822959" cy="822960"/>
            </a:xfrm>
            <a:prstGeom prst="ellipse">
              <a:avLst/>
            </a:prstGeom>
            <a:solidFill>
              <a:schemeClr val="bg1"/>
            </a:solidFill>
            <a:ln w="88900">
              <a:solidFill>
                <a:schemeClr val="accent3">
                  <a:alpha val="20000"/>
                </a:schemeClr>
              </a:solidFill>
            </a:ln>
            <a:effectLst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kern="0" dirty="0">
                <a:solidFill>
                  <a:srgbClr val="E1261C"/>
                </a:solidFill>
                <a:latin typeface="Honeywell Sans" panose="02010503040101060203" pitchFamily="50" charset="0"/>
              </a:endParaRPr>
            </a:p>
          </p:txBody>
        </p:sp>
        <p:sp>
          <p:nvSpPr>
            <p:cNvPr id="281" name="Pie 280"/>
            <p:cNvSpPr/>
            <p:nvPr/>
          </p:nvSpPr>
          <p:spPr bwMode="auto">
            <a:xfrm>
              <a:off x="1702167" y="4603093"/>
              <a:ext cx="469828" cy="469828"/>
            </a:xfrm>
            <a:prstGeom prst="pie">
              <a:avLst/>
            </a:prstGeom>
            <a:solidFill>
              <a:schemeClr val="bg1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  <a:effectLst/>
            <a:extLst/>
          </p:spPr>
          <p:txBody>
            <a:bodyPr vert="horz" wrap="none" lIns="90488" tIns="44450" rIns="90488" bIns="44450" numCol="1" rtlCol="0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10000"/>
                </a:lnSpc>
                <a:defRPr/>
              </a:pPr>
              <a:endParaRPr lang="en-US" b="1" kern="0" dirty="0">
                <a:solidFill>
                  <a:srgbClr val="000000"/>
                </a:solidFill>
                <a:latin typeface="Honeywell Sans" panose="02010503040101060203" pitchFamily="50" charset="0"/>
                <a:cs typeface="Arial" pitchFamily="34" charset="0"/>
              </a:endParaRPr>
            </a:p>
          </p:txBody>
        </p:sp>
        <p:grpSp>
          <p:nvGrpSpPr>
            <p:cNvPr id="282" name="Group 281"/>
            <p:cNvGrpSpPr/>
            <p:nvPr/>
          </p:nvGrpSpPr>
          <p:grpSpPr>
            <a:xfrm>
              <a:off x="1848577" y="4826393"/>
              <a:ext cx="238040" cy="217030"/>
              <a:chOff x="3895889" y="4924002"/>
              <a:chExt cx="144476" cy="176792"/>
            </a:xfrm>
          </p:grpSpPr>
          <p:sp>
            <p:nvSpPr>
              <p:cNvPr id="306" name="Rectangle 305"/>
              <p:cNvSpPr/>
              <p:nvPr/>
            </p:nvSpPr>
            <p:spPr bwMode="auto">
              <a:xfrm>
                <a:off x="3895889" y="4949559"/>
                <a:ext cx="4128" cy="147326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  <a:effectLst/>
              <a:extLst/>
            </p:spPr>
            <p:txBody>
              <a:bodyPr vert="horz" wrap="none" lIns="90488" tIns="44450" rIns="90488" bIns="44450" numCol="1" rtlCol="0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defRPr/>
                </a:pPr>
                <a:endParaRPr lang="en-US" b="1" kern="0" dirty="0">
                  <a:solidFill>
                    <a:srgbClr val="000000"/>
                  </a:solidFill>
                  <a:latin typeface="Honeywell Sans" panose="02010503040101060203" pitchFamily="50" charset="0"/>
                  <a:cs typeface="Arial" pitchFamily="34" charset="0"/>
                </a:endParaRPr>
              </a:p>
            </p:txBody>
          </p:sp>
          <p:sp>
            <p:nvSpPr>
              <p:cNvPr id="307" name="Rectangle 306"/>
              <p:cNvSpPr/>
              <p:nvPr/>
            </p:nvSpPr>
            <p:spPr bwMode="auto">
              <a:xfrm rot="5400000">
                <a:off x="3968025" y="4953049"/>
                <a:ext cx="4334" cy="140347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  <a:effectLst/>
              <a:extLst/>
            </p:spPr>
            <p:txBody>
              <a:bodyPr vert="horz" wrap="none" lIns="90488" tIns="44450" rIns="90488" bIns="44450" numCol="1" rtlCol="0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defRPr/>
                </a:pPr>
                <a:endParaRPr lang="en-US" b="1" kern="0" dirty="0">
                  <a:solidFill>
                    <a:srgbClr val="000000"/>
                  </a:solidFill>
                  <a:latin typeface="Honeywell Sans" panose="02010503040101060203" pitchFamily="50" charset="0"/>
                  <a:cs typeface="Arial" pitchFamily="34" charset="0"/>
                </a:endParaRPr>
              </a:p>
            </p:txBody>
          </p:sp>
          <p:sp>
            <p:nvSpPr>
              <p:cNvPr id="308" name="Rectangle 307"/>
              <p:cNvSpPr/>
              <p:nvPr/>
            </p:nvSpPr>
            <p:spPr bwMode="auto">
              <a:xfrm>
                <a:off x="3971567" y="4993613"/>
                <a:ext cx="17888" cy="22388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  <a:effectLst/>
              <a:extLst/>
            </p:spPr>
            <p:txBody>
              <a:bodyPr vert="horz" wrap="none" lIns="90488" tIns="44450" rIns="90488" bIns="44450" numCol="1" rtlCol="0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defRPr/>
                </a:pPr>
                <a:endParaRPr lang="en-US" b="1" kern="0" dirty="0">
                  <a:solidFill>
                    <a:srgbClr val="000000"/>
                  </a:solidFill>
                  <a:latin typeface="Honeywell Sans" panose="02010503040101060203" pitchFamily="50" charset="0"/>
                  <a:cs typeface="Arial" pitchFamily="34" charset="0"/>
                </a:endParaRPr>
              </a:p>
            </p:txBody>
          </p:sp>
          <p:sp>
            <p:nvSpPr>
              <p:cNvPr id="309" name="Rectangle 308"/>
              <p:cNvSpPr/>
              <p:nvPr/>
            </p:nvSpPr>
            <p:spPr bwMode="auto">
              <a:xfrm>
                <a:off x="3997022" y="4979169"/>
                <a:ext cx="17888" cy="36831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  <a:effectLst/>
              <a:extLst/>
            </p:spPr>
            <p:txBody>
              <a:bodyPr vert="horz" wrap="none" lIns="90488" tIns="44450" rIns="90488" bIns="44450" numCol="1" rtlCol="0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defRPr/>
                </a:pPr>
                <a:endParaRPr lang="en-US" b="1" kern="0" dirty="0">
                  <a:solidFill>
                    <a:srgbClr val="000000"/>
                  </a:solidFill>
                  <a:latin typeface="Honeywell Sans" panose="02010503040101060203" pitchFamily="50" charset="0"/>
                  <a:cs typeface="Arial" pitchFamily="34" charset="0"/>
                </a:endParaRPr>
              </a:p>
            </p:txBody>
          </p:sp>
          <p:sp>
            <p:nvSpPr>
              <p:cNvPr id="310" name="Rectangle 309"/>
              <p:cNvSpPr/>
              <p:nvPr/>
            </p:nvSpPr>
            <p:spPr bwMode="auto">
              <a:xfrm>
                <a:off x="4022477" y="4945226"/>
                <a:ext cx="17888" cy="70775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  <a:effectLst/>
              <a:extLst/>
            </p:spPr>
            <p:txBody>
              <a:bodyPr vert="horz" wrap="none" lIns="90488" tIns="44450" rIns="90488" bIns="44450" numCol="1" rtlCol="0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defRPr/>
                </a:pPr>
                <a:endParaRPr lang="en-US" b="1" kern="0" dirty="0">
                  <a:solidFill>
                    <a:srgbClr val="000000"/>
                  </a:solidFill>
                  <a:latin typeface="Honeywell Sans" panose="02010503040101060203" pitchFamily="50" charset="0"/>
                  <a:cs typeface="Arial" pitchFamily="34" charset="0"/>
                </a:endParaRPr>
              </a:p>
            </p:txBody>
          </p:sp>
          <p:sp>
            <p:nvSpPr>
              <p:cNvPr id="311" name="Rectangle 310"/>
              <p:cNvSpPr/>
              <p:nvPr/>
            </p:nvSpPr>
            <p:spPr bwMode="auto">
              <a:xfrm flipH="1" flipV="1">
                <a:off x="3958496" y="5030019"/>
                <a:ext cx="17888" cy="22388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  <a:effectLst/>
              <a:extLst/>
            </p:spPr>
            <p:txBody>
              <a:bodyPr vert="horz" wrap="none" lIns="90488" tIns="44450" rIns="90488" bIns="44450" numCol="1" rtlCol="0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defRPr/>
                </a:pPr>
                <a:endParaRPr lang="en-US" b="1" kern="0" dirty="0">
                  <a:solidFill>
                    <a:srgbClr val="000000"/>
                  </a:solidFill>
                  <a:latin typeface="Honeywell Sans" panose="02010503040101060203" pitchFamily="50" charset="0"/>
                  <a:cs typeface="Arial" pitchFamily="34" charset="0"/>
                </a:endParaRPr>
              </a:p>
            </p:txBody>
          </p:sp>
          <p:sp>
            <p:nvSpPr>
              <p:cNvPr id="312" name="Rectangle 311"/>
              <p:cNvSpPr/>
              <p:nvPr/>
            </p:nvSpPr>
            <p:spPr bwMode="auto">
              <a:xfrm flipH="1" flipV="1">
                <a:off x="3933041" y="5030019"/>
                <a:ext cx="17888" cy="36831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  <a:effectLst/>
              <a:extLst/>
            </p:spPr>
            <p:txBody>
              <a:bodyPr vert="horz" wrap="none" lIns="90488" tIns="44450" rIns="90488" bIns="44450" numCol="1" rtlCol="0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defRPr/>
                </a:pPr>
                <a:endParaRPr lang="en-US" b="1" kern="0" dirty="0">
                  <a:solidFill>
                    <a:srgbClr val="000000"/>
                  </a:solidFill>
                  <a:latin typeface="Honeywell Sans" panose="02010503040101060203" pitchFamily="50" charset="0"/>
                  <a:cs typeface="Arial" pitchFamily="34" charset="0"/>
                </a:endParaRPr>
              </a:p>
            </p:txBody>
          </p:sp>
          <p:sp>
            <p:nvSpPr>
              <p:cNvPr id="313" name="Rectangle 312"/>
              <p:cNvSpPr/>
              <p:nvPr/>
            </p:nvSpPr>
            <p:spPr bwMode="auto">
              <a:xfrm flipH="1" flipV="1">
                <a:off x="3907585" y="5030019"/>
                <a:ext cx="17888" cy="70775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  <a:effectLst/>
              <a:extLst/>
            </p:spPr>
            <p:txBody>
              <a:bodyPr vert="horz" wrap="none" lIns="90488" tIns="44450" rIns="90488" bIns="44450" numCol="1" rtlCol="0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defRPr/>
                </a:pPr>
                <a:endParaRPr lang="en-US" b="1" kern="0" dirty="0">
                  <a:solidFill>
                    <a:srgbClr val="000000"/>
                  </a:solidFill>
                  <a:latin typeface="Honeywell Sans" panose="02010503040101060203" pitchFamily="50" charset="0"/>
                  <a:cs typeface="Arial" pitchFamily="34" charset="0"/>
                </a:endParaRPr>
              </a:p>
            </p:txBody>
          </p:sp>
          <p:sp>
            <p:nvSpPr>
              <p:cNvPr id="314" name="Rectangle 313"/>
              <p:cNvSpPr/>
              <p:nvPr/>
            </p:nvSpPr>
            <p:spPr bwMode="auto">
              <a:xfrm rot="5400000">
                <a:off x="3906285" y="5002034"/>
                <a:ext cx="2600" cy="6880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  <a:effectLst/>
              <a:extLst/>
            </p:spPr>
            <p:txBody>
              <a:bodyPr vert="horz" wrap="none" lIns="90488" tIns="44450" rIns="90488" bIns="44450" numCol="1" rtlCol="0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defRPr/>
                </a:pPr>
                <a:endParaRPr lang="en-US" b="1" kern="0" dirty="0">
                  <a:solidFill>
                    <a:srgbClr val="000000"/>
                  </a:solidFill>
                  <a:latin typeface="Honeywell Sans" panose="02010503040101060203" pitchFamily="50" charset="0"/>
                  <a:cs typeface="Arial" pitchFamily="34" charset="0"/>
                </a:endParaRPr>
              </a:p>
            </p:txBody>
          </p:sp>
          <p:sp>
            <p:nvSpPr>
              <p:cNvPr id="315" name="Rectangle 314"/>
              <p:cNvSpPr/>
              <p:nvPr/>
            </p:nvSpPr>
            <p:spPr bwMode="auto">
              <a:xfrm rot="5400000">
                <a:off x="3906285" y="4986463"/>
                <a:ext cx="2600" cy="6880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  <a:effectLst/>
              <a:extLst/>
            </p:spPr>
            <p:txBody>
              <a:bodyPr vert="horz" wrap="none" lIns="90488" tIns="44450" rIns="90488" bIns="44450" numCol="1" rtlCol="0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defRPr/>
                </a:pPr>
                <a:endParaRPr lang="en-US" b="1" kern="0" dirty="0">
                  <a:solidFill>
                    <a:srgbClr val="000000"/>
                  </a:solidFill>
                  <a:latin typeface="Honeywell Sans" panose="02010503040101060203" pitchFamily="50" charset="0"/>
                  <a:cs typeface="Arial" pitchFamily="34" charset="0"/>
                </a:endParaRPr>
              </a:p>
            </p:txBody>
          </p:sp>
          <p:sp>
            <p:nvSpPr>
              <p:cNvPr id="316" name="Rectangle 315"/>
              <p:cNvSpPr/>
              <p:nvPr/>
            </p:nvSpPr>
            <p:spPr bwMode="auto">
              <a:xfrm rot="5400000">
                <a:off x="3906285" y="4951375"/>
                <a:ext cx="2600" cy="6880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  <a:effectLst/>
              <a:extLst/>
            </p:spPr>
            <p:txBody>
              <a:bodyPr vert="horz" wrap="none" lIns="90488" tIns="44450" rIns="90488" bIns="44450" numCol="1" rtlCol="0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defRPr/>
                </a:pPr>
                <a:endParaRPr lang="en-US" b="1" kern="0" dirty="0">
                  <a:solidFill>
                    <a:srgbClr val="000000"/>
                  </a:solidFill>
                  <a:latin typeface="Honeywell Sans" panose="02010503040101060203" pitchFamily="50" charset="0"/>
                  <a:cs typeface="Arial" pitchFamily="34" charset="0"/>
                </a:endParaRPr>
              </a:p>
            </p:txBody>
          </p:sp>
          <p:sp>
            <p:nvSpPr>
              <p:cNvPr id="317" name="Rectangle 316"/>
              <p:cNvSpPr/>
              <p:nvPr/>
            </p:nvSpPr>
            <p:spPr bwMode="auto">
              <a:xfrm rot="5400000">
                <a:off x="3906285" y="4921862"/>
                <a:ext cx="2600" cy="6880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  <a:effectLst/>
              <a:extLst/>
            </p:spPr>
            <p:txBody>
              <a:bodyPr vert="horz" wrap="none" lIns="90488" tIns="44450" rIns="90488" bIns="44450" numCol="1" rtlCol="0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defRPr/>
                </a:pPr>
                <a:endParaRPr lang="en-US" b="1" kern="0" dirty="0">
                  <a:solidFill>
                    <a:srgbClr val="000000"/>
                  </a:solidFill>
                  <a:latin typeface="Honeywell Sans" panose="02010503040101060203" pitchFamily="50" charset="0"/>
                  <a:cs typeface="Arial" pitchFamily="34" charset="0"/>
                </a:endParaRPr>
              </a:p>
            </p:txBody>
          </p:sp>
        </p:grpSp>
        <p:grpSp>
          <p:nvGrpSpPr>
            <p:cNvPr id="283" name="Group 282"/>
            <p:cNvGrpSpPr/>
            <p:nvPr/>
          </p:nvGrpSpPr>
          <p:grpSpPr>
            <a:xfrm>
              <a:off x="1786146" y="4679215"/>
              <a:ext cx="117891" cy="130459"/>
              <a:chOff x="3750038" y="4767595"/>
              <a:chExt cx="134845" cy="149220"/>
            </a:xfrm>
          </p:grpSpPr>
          <p:sp>
            <p:nvSpPr>
              <p:cNvPr id="303" name="Donut 302"/>
              <p:cNvSpPr/>
              <p:nvPr/>
            </p:nvSpPr>
            <p:spPr bwMode="auto">
              <a:xfrm>
                <a:off x="3832596" y="4838124"/>
                <a:ext cx="52287" cy="54886"/>
              </a:xfrm>
              <a:prstGeom prst="donut">
                <a:avLst/>
              </a:prstGeom>
              <a:solidFill>
                <a:schemeClr val="tx2"/>
              </a:solidFill>
              <a:ln>
                <a:noFill/>
              </a:ln>
              <a:effectLst/>
              <a:extLst/>
            </p:spPr>
            <p:txBody>
              <a:bodyPr vert="horz" wrap="none" lIns="90488" tIns="44450" rIns="90488" bIns="44450" numCol="1" rtlCol="0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defRPr/>
                </a:pPr>
                <a:endParaRPr lang="en-US" b="1" kern="0" dirty="0">
                  <a:solidFill>
                    <a:srgbClr val="000000"/>
                  </a:solidFill>
                  <a:latin typeface="Honeywell Sans" panose="02010503040101060203" pitchFamily="50" charset="0"/>
                  <a:cs typeface="Arial" pitchFamily="34" charset="0"/>
                </a:endParaRPr>
              </a:p>
            </p:txBody>
          </p:sp>
          <p:sp>
            <p:nvSpPr>
              <p:cNvPr id="304" name="Donut 303"/>
              <p:cNvSpPr/>
              <p:nvPr/>
            </p:nvSpPr>
            <p:spPr bwMode="auto">
              <a:xfrm>
                <a:off x="3750038" y="4781794"/>
                <a:ext cx="52287" cy="54886"/>
              </a:xfrm>
              <a:prstGeom prst="donut">
                <a:avLst/>
              </a:prstGeom>
              <a:solidFill>
                <a:schemeClr val="tx2"/>
              </a:solidFill>
              <a:ln>
                <a:noFill/>
              </a:ln>
              <a:effectLst/>
              <a:extLst/>
            </p:spPr>
            <p:txBody>
              <a:bodyPr vert="horz" wrap="none" lIns="90488" tIns="44450" rIns="90488" bIns="44450" numCol="1" rtlCol="0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defRPr/>
                </a:pPr>
                <a:endParaRPr lang="en-US" b="1" kern="0" dirty="0">
                  <a:solidFill>
                    <a:srgbClr val="000000"/>
                  </a:solidFill>
                  <a:latin typeface="Honeywell Sans" panose="02010503040101060203" pitchFamily="50" charset="0"/>
                  <a:cs typeface="Arial" pitchFamily="34" charset="0"/>
                </a:endParaRPr>
              </a:p>
            </p:txBody>
          </p:sp>
          <p:sp>
            <p:nvSpPr>
              <p:cNvPr id="305" name="Rounded Rectangle 304"/>
              <p:cNvSpPr/>
              <p:nvPr/>
            </p:nvSpPr>
            <p:spPr bwMode="auto">
              <a:xfrm rot="18000000">
                <a:off x="3739174" y="4828445"/>
                <a:ext cx="149220" cy="27519"/>
              </a:xfrm>
              <a:prstGeom prst="roundRect">
                <a:avLst>
                  <a:gd name="adj" fmla="val 50000"/>
                </a:avLst>
              </a:prstGeom>
              <a:solidFill>
                <a:schemeClr val="tx2"/>
              </a:solidFill>
              <a:ln>
                <a:noFill/>
              </a:ln>
              <a:effectLst/>
              <a:extLst/>
            </p:spPr>
            <p:txBody>
              <a:bodyPr vert="horz" wrap="none" lIns="90488" tIns="44450" rIns="90488" bIns="44450" numCol="1" rtlCol="0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defRPr/>
                </a:pPr>
                <a:endParaRPr lang="en-US" b="1" kern="0" dirty="0">
                  <a:solidFill>
                    <a:srgbClr val="000000"/>
                  </a:solidFill>
                  <a:latin typeface="Honeywell Sans" panose="02010503040101060203" pitchFamily="50" charset="0"/>
                  <a:cs typeface="Arial" pitchFamily="34" charset="0"/>
                </a:endParaRPr>
              </a:p>
            </p:txBody>
          </p:sp>
        </p:grpSp>
        <p:grpSp>
          <p:nvGrpSpPr>
            <p:cNvPr id="284" name="Group 283"/>
            <p:cNvGrpSpPr/>
            <p:nvPr/>
          </p:nvGrpSpPr>
          <p:grpSpPr>
            <a:xfrm>
              <a:off x="1969306" y="4691790"/>
              <a:ext cx="208135" cy="89934"/>
              <a:chOff x="3927225" y="4788276"/>
              <a:chExt cx="208135" cy="89934"/>
            </a:xfrm>
          </p:grpSpPr>
          <p:sp>
            <p:nvSpPr>
              <p:cNvPr id="288" name="Rounded Rectangle 287"/>
              <p:cNvSpPr/>
              <p:nvPr/>
            </p:nvSpPr>
            <p:spPr bwMode="auto">
              <a:xfrm>
                <a:off x="3936249" y="4788276"/>
                <a:ext cx="37151" cy="9049"/>
              </a:xfrm>
              <a:prstGeom prst="roundRect">
                <a:avLst>
                  <a:gd name="adj" fmla="val 50000"/>
                </a:avLst>
              </a:prstGeom>
              <a:solidFill>
                <a:schemeClr val="tx2"/>
              </a:solidFill>
              <a:ln>
                <a:noFill/>
              </a:ln>
              <a:effectLst/>
              <a:extLst/>
            </p:spPr>
            <p:txBody>
              <a:bodyPr vert="horz" wrap="none" lIns="90488" tIns="44450" rIns="90488" bIns="44450" numCol="1" rtlCol="0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defRPr/>
                </a:pPr>
                <a:endParaRPr lang="en-US" b="1" kern="0" dirty="0">
                  <a:solidFill>
                    <a:srgbClr val="000000"/>
                  </a:solidFill>
                  <a:latin typeface="Honeywell Sans" panose="02010503040101060203" pitchFamily="50" charset="0"/>
                  <a:cs typeface="Arial" pitchFamily="34" charset="0"/>
                </a:endParaRPr>
              </a:p>
            </p:txBody>
          </p:sp>
          <p:sp>
            <p:nvSpPr>
              <p:cNvPr id="289" name="Rounded Rectangle 288"/>
              <p:cNvSpPr/>
              <p:nvPr/>
            </p:nvSpPr>
            <p:spPr bwMode="auto">
              <a:xfrm>
                <a:off x="3936249" y="4827997"/>
                <a:ext cx="37151" cy="9049"/>
              </a:xfrm>
              <a:prstGeom prst="roundRect">
                <a:avLst>
                  <a:gd name="adj" fmla="val 50000"/>
                </a:avLst>
              </a:prstGeom>
              <a:solidFill>
                <a:schemeClr val="tx2"/>
              </a:solidFill>
              <a:ln>
                <a:noFill/>
              </a:ln>
              <a:effectLst/>
              <a:extLst/>
            </p:spPr>
            <p:txBody>
              <a:bodyPr vert="horz" wrap="none" lIns="90488" tIns="44450" rIns="90488" bIns="44450" numCol="1" rtlCol="0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defRPr/>
                </a:pPr>
                <a:endParaRPr lang="en-US" b="1" kern="0" dirty="0">
                  <a:solidFill>
                    <a:srgbClr val="000000"/>
                  </a:solidFill>
                  <a:latin typeface="Honeywell Sans" panose="02010503040101060203" pitchFamily="50" charset="0"/>
                  <a:cs typeface="Arial" pitchFamily="34" charset="0"/>
                </a:endParaRPr>
              </a:p>
            </p:txBody>
          </p:sp>
          <p:sp>
            <p:nvSpPr>
              <p:cNvPr id="290" name="Rounded Rectangle 289"/>
              <p:cNvSpPr/>
              <p:nvPr/>
            </p:nvSpPr>
            <p:spPr bwMode="auto">
              <a:xfrm>
                <a:off x="3936249" y="4869161"/>
                <a:ext cx="37151" cy="9049"/>
              </a:xfrm>
              <a:prstGeom prst="roundRect">
                <a:avLst>
                  <a:gd name="adj" fmla="val 50000"/>
                </a:avLst>
              </a:prstGeom>
              <a:solidFill>
                <a:schemeClr val="tx2"/>
              </a:solidFill>
              <a:ln>
                <a:noFill/>
              </a:ln>
              <a:effectLst/>
              <a:extLst/>
            </p:spPr>
            <p:txBody>
              <a:bodyPr vert="horz" wrap="none" lIns="90488" tIns="44450" rIns="90488" bIns="44450" numCol="1" rtlCol="0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defRPr/>
                </a:pPr>
                <a:endParaRPr lang="en-US" b="1" kern="0" dirty="0">
                  <a:solidFill>
                    <a:srgbClr val="000000"/>
                  </a:solidFill>
                  <a:latin typeface="Honeywell Sans" panose="02010503040101060203" pitchFamily="50" charset="0"/>
                  <a:cs typeface="Arial" pitchFamily="34" charset="0"/>
                </a:endParaRPr>
              </a:p>
            </p:txBody>
          </p:sp>
          <p:sp>
            <p:nvSpPr>
              <p:cNvPr id="291" name="Rounded Rectangle 290"/>
              <p:cNvSpPr/>
              <p:nvPr/>
            </p:nvSpPr>
            <p:spPr bwMode="auto">
              <a:xfrm>
                <a:off x="3998856" y="4827997"/>
                <a:ext cx="37151" cy="9049"/>
              </a:xfrm>
              <a:prstGeom prst="roundRect">
                <a:avLst>
                  <a:gd name="adj" fmla="val 50000"/>
                </a:avLst>
              </a:prstGeom>
              <a:solidFill>
                <a:schemeClr val="tx2"/>
              </a:solidFill>
              <a:ln>
                <a:noFill/>
              </a:ln>
              <a:effectLst/>
              <a:extLst/>
            </p:spPr>
            <p:txBody>
              <a:bodyPr vert="horz" wrap="none" lIns="90488" tIns="44450" rIns="90488" bIns="44450" numCol="1" rtlCol="0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defRPr/>
                </a:pPr>
                <a:endParaRPr lang="en-US" b="1" kern="0" dirty="0">
                  <a:solidFill>
                    <a:srgbClr val="000000"/>
                  </a:solidFill>
                  <a:latin typeface="Honeywell Sans" panose="02010503040101060203" pitchFamily="50" charset="0"/>
                  <a:cs typeface="Arial" pitchFamily="34" charset="0"/>
                </a:endParaRPr>
              </a:p>
            </p:txBody>
          </p:sp>
          <p:sp>
            <p:nvSpPr>
              <p:cNvPr id="292" name="Rounded Rectangle 291"/>
              <p:cNvSpPr/>
              <p:nvPr/>
            </p:nvSpPr>
            <p:spPr bwMode="auto">
              <a:xfrm>
                <a:off x="4088980" y="4788276"/>
                <a:ext cx="37151" cy="9049"/>
              </a:xfrm>
              <a:prstGeom prst="roundRect">
                <a:avLst>
                  <a:gd name="adj" fmla="val 50000"/>
                </a:avLst>
              </a:prstGeom>
              <a:solidFill>
                <a:schemeClr val="tx2"/>
              </a:solidFill>
              <a:ln>
                <a:noFill/>
              </a:ln>
              <a:effectLst/>
              <a:extLst/>
            </p:spPr>
            <p:txBody>
              <a:bodyPr vert="horz" wrap="none" lIns="90488" tIns="44450" rIns="90488" bIns="44450" numCol="1" rtlCol="0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defRPr/>
                </a:pPr>
                <a:endParaRPr lang="en-US" b="1" kern="0" dirty="0">
                  <a:solidFill>
                    <a:srgbClr val="000000"/>
                  </a:solidFill>
                  <a:latin typeface="Honeywell Sans" panose="02010503040101060203" pitchFamily="50" charset="0"/>
                  <a:cs typeface="Arial" pitchFamily="34" charset="0"/>
                </a:endParaRPr>
              </a:p>
            </p:txBody>
          </p:sp>
          <p:sp>
            <p:nvSpPr>
              <p:cNvPr id="293" name="Rounded Rectangle 292"/>
              <p:cNvSpPr/>
              <p:nvPr/>
            </p:nvSpPr>
            <p:spPr bwMode="auto">
              <a:xfrm rot="5400000">
                <a:off x="3958819" y="4808741"/>
                <a:ext cx="38998" cy="8620"/>
              </a:xfrm>
              <a:prstGeom prst="roundRect">
                <a:avLst>
                  <a:gd name="adj" fmla="val 50000"/>
                </a:avLst>
              </a:prstGeom>
              <a:solidFill>
                <a:schemeClr val="tx2"/>
              </a:solidFill>
              <a:ln>
                <a:noFill/>
              </a:ln>
              <a:effectLst/>
              <a:extLst/>
            </p:spPr>
            <p:txBody>
              <a:bodyPr vert="horz" wrap="none" lIns="90488" tIns="44450" rIns="90488" bIns="44450" numCol="1" rtlCol="0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defRPr/>
                </a:pPr>
                <a:endParaRPr lang="en-US" b="1" kern="0" dirty="0">
                  <a:solidFill>
                    <a:srgbClr val="000000"/>
                  </a:solidFill>
                  <a:latin typeface="Honeywell Sans" panose="02010503040101060203" pitchFamily="50" charset="0"/>
                  <a:cs typeface="Arial" pitchFamily="34" charset="0"/>
                </a:endParaRPr>
              </a:p>
            </p:txBody>
          </p:sp>
          <p:sp>
            <p:nvSpPr>
              <p:cNvPr id="294" name="Rounded Rectangle 293"/>
              <p:cNvSpPr/>
              <p:nvPr/>
            </p:nvSpPr>
            <p:spPr bwMode="auto">
              <a:xfrm rot="5400000">
                <a:off x="3912036" y="4847739"/>
                <a:ext cx="38998" cy="8620"/>
              </a:xfrm>
              <a:prstGeom prst="roundRect">
                <a:avLst>
                  <a:gd name="adj" fmla="val 50000"/>
                </a:avLst>
              </a:prstGeom>
              <a:solidFill>
                <a:schemeClr val="tx2"/>
              </a:solidFill>
              <a:ln>
                <a:noFill/>
              </a:ln>
              <a:effectLst/>
              <a:extLst/>
            </p:spPr>
            <p:txBody>
              <a:bodyPr vert="horz" wrap="none" lIns="90488" tIns="44450" rIns="90488" bIns="44450" numCol="1" rtlCol="0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defRPr/>
                </a:pPr>
                <a:endParaRPr lang="en-US" b="1" kern="0" dirty="0">
                  <a:solidFill>
                    <a:srgbClr val="000000"/>
                  </a:solidFill>
                  <a:latin typeface="Honeywell Sans" panose="02010503040101060203" pitchFamily="50" charset="0"/>
                  <a:cs typeface="Arial" pitchFamily="34" charset="0"/>
                </a:endParaRPr>
              </a:p>
            </p:txBody>
          </p:sp>
          <p:sp>
            <p:nvSpPr>
              <p:cNvPr id="295" name="Rounded Rectangle 294"/>
              <p:cNvSpPr/>
              <p:nvPr/>
            </p:nvSpPr>
            <p:spPr bwMode="auto">
              <a:xfrm rot="5400000">
                <a:off x="3974643" y="4808741"/>
                <a:ext cx="38998" cy="8620"/>
              </a:xfrm>
              <a:prstGeom prst="roundRect">
                <a:avLst>
                  <a:gd name="adj" fmla="val 50000"/>
                </a:avLst>
              </a:prstGeom>
              <a:solidFill>
                <a:schemeClr val="tx2"/>
              </a:solidFill>
              <a:ln>
                <a:noFill/>
              </a:ln>
              <a:effectLst/>
              <a:extLst/>
            </p:spPr>
            <p:txBody>
              <a:bodyPr vert="horz" wrap="none" lIns="90488" tIns="44450" rIns="90488" bIns="44450" numCol="1" rtlCol="0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defRPr/>
                </a:pPr>
                <a:endParaRPr lang="en-US" b="1" kern="0" dirty="0">
                  <a:solidFill>
                    <a:srgbClr val="000000"/>
                  </a:solidFill>
                  <a:latin typeface="Honeywell Sans" panose="02010503040101060203" pitchFamily="50" charset="0"/>
                  <a:cs typeface="Arial" pitchFamily="34" charset="0"/>
                </a:endParaRPr>
              </a:p>
            </p:txBody>
          </p:sp>
          <p:sp>
            <p:nvSpPr>
              <p:cNvPr id="296" name="Rounded Rectangle 295"/>
              <p:cNvSpPr/>
              <p:nvPr/>
            </p:nvSpPr>
            <p:spPr bwMode="auto">
              <a:xfrm rot="5400000">
                <a:off x="4022113" y="4808741"/>
                <a:ext cx="38998" cy="8620"/>
              </a:xfrm>
              <a:prstGeom prst="roundRect">
                <a:avLst>
                  <a:gd name="adj" fmla="val 50000"/>
                </a:avLst>
              </a:prstGeom>
              <a:solidFill>
                <a:schemeClr val="tx2"/>
              </a:solidFill>
              <a:ln>
                <a:noFill/>
              </a:ln>
              <a:effectLst/>
              <a:extLst/>
            </p:spPr>
            <p:txBody>
              <a:bodyPr vert="horz" wrap="none" lIns="90488" tIns="44450" rIns="90488" bIns="44450" numCol="1" rtlCol="0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defRPr/>
                </a:pPr>
                <a:endParaRPr lang="en-US" b="1" kern="0" dirty="0">
                  <a:solidFill>
                    <a:srgbClr val="000000"/>
                  </a:solidFill>
                  <a:latin typeface="Honeywell Sans" panose="02010503040101060203" pitchFamily="50" charset="0"/>
                  <a:cs typeface="Arial" pitchFamily="34" charset="0"/>
                </a:endParaRPr>
              </a:p>
            </p:txBody>
          </p:sp>
          <p:sp>
            <p:nvSpPr>
              <p:cNvPr id="297" name="Rounded Rectangle 296"/>
              <p:cNvSpPr/>
              <p:nvPr/>
            </p:nvSpPr>
            <p:spPr bwMode="auto">
              <a:xfrm rot="5400000">
                <a:off x="4022113" y="4846295"/>
                <a:ext cx="38998" cy="8620"/>
              </a:xfrm>
              <a:prstGeom prst="roundRect">
                <a:avLst>
                  <a:gd name="adj" fmla="val 50000"/>
                </a:avLst>
              </a:prstGeom>
              <a:solidFill>
                <a:schemeClr val="tx2"/>
              </a:solidFill>
              <a:ln>
                <a:noFill/>
              </a:ln>
              <a:effectLst/>
              <a:extLst/>
            </p:spPr>
            <p:txBody>
              <a:bodyPr vert="horz" wrap="none" lIns="90488" tIns="44450" rIns="90488" bIns="44450" numCol="1" rtlCol="0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defRPr/>
                </a:pPr>
                <a:endParaRPr lang="en-US" b="1" kern="0" dirty="0">
                  <a:solidFill>
                    <a:srgbClr val="000000"/>
                  </a:solidFill>
                  <a:latin typeface="Honeywell Sans" panose="02010503040101060203" pitchFamily="50" charset="0"/>
                  <a:cs typeface="Arial" pitchFamily="34" charset="0"/>
                </a:endParaRPr>
              </a:p>
            </p:txBody>
          </p:sp>
          <p:sp>
            <p:nvSpPr>
              <p:cNvPr id="298" name="Rounded Rectangle 297"/>
              <p:cNvSpPr/>
              <p:nvPr/>
            </p:nvSpPr>
            <p:spPr bwMode="auto">
              <a:xfrm rot="5400000">
                <a:off x="4111551" y="4808741"/>
                <a:ext cx="38998" cy="8620"/>
              </a:xfrm>
              <a:prstGeom prst="roundRect">
                <a:avLst>
                  <a:gd name="adj" fmla="val 50000"/>
                </a:avLst>
              </a:prstGeom>
              <a:solidFill>
                <a:schemeClr val="tx2"/>
              </a:solidFill>
              <a:ln>
                <a:noFill/>
              </a:ln>
              <a:effectLst/>
              <a:extLst/>
            </p:spPr>
            <p:txBody>
              <a:bodyPr vert="horz" wrap="none" lIns="90488" tIns="44450" rIns="90488" bIns="44450" numCol="1" rtlCol="0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defRPr/>
                </a:pPr>
                <a:endParaRPr lang="en-US" b="1" kern="0" dirty="0">
                  <a:solidFill>
                    <a:srgbClr val="000000"/>
                  </a:solidFill>
                  <a:latin typeface="Honeywell Sans" panose="02010503040101060203" pitchFamily="50" charset="0"/>
                  <a:cs typeface="Arial" pitchFamily="34" charset="0"/>
                </a:endParaRPr>
              </a:p>
            </p:txBody>
          </p:sp>
          <p:sp>
            <p:nvSpPr>
              <p:cNvPr id="299" name="Rounded Rectangle 298"/>
              <p:cNvSpPr/>
              <p:nvPr/>
            </p:nvSpPr>
            <p:spPr bwMode="auto">
              <a:xfrm rot="5400000">
                <a:off x="4111551" y="4846295"/>
                <a:ext cx="38998" cy="8620"/>
              </a:xfrm>
              <a:prstGeom prst="roundRect">
                <a:avLst>
                  <a:gd name="adj" fmla="val 50000"/>
                </a:avLst>
              </a:prstGeom>
              <a:solidFill>
                <a:schemeClr val="tx2"/>
              </a:solidFill>
              <a:ln>
                <a:noFill/>
              </a:ln>
              <a:effectLst/>
              <a:extLst/>
            </p:spPr>
            <p:txBody>
              <a:bodyPr vert="horz" wrap="none" lIns="90488" tIns="44450" rIns="90488" bIns="44450" numCol="1" rtlCol="0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defRPr/>
                </a:pPr>
                <a:endParaRPr lang="en-US" b="1" kern="0" dirty="0">
                  <a:solidFill>
                    <a:srgbClr val="000000"/>
                  </a:solidFill>
                  <a:latin typeface="Honeywell Sans" panose="02010503040101060203" pitchFamily="50" charset="0"/>
                  <a:cs typeface="Arial" pitchFamily="34" charset="0"/>
                </a:endParaRPr>
              </a:p>
            </p:txBody>
          </p:sp>
          <p:grpSp>
            <p:nvGrpSpPr>
              <p:cNvPr id="300" name="Group 299"/>
              <p:cNvGrpSpPr/>
              <p:nvPr/>
            </p:nvGrpSpPr>
            <p:grpSpPr>
              <a:xfrm rot="1190109">
                <a:off x="4065327" y="4794906"/>
                <a:ext cx="8620" cy="76552"/>
                <a:chOff x="5335683" y="2280707"/>
                <a:chExt cx="95477" cy="807721"/>
              </a:xfrm>
              <a:solidFill>
                <a:schemeClr val="tx2"/>
              </a:solidFill>
            </p:grpSpPr>
            <p:sp>
              <p:nvSpPr>
                <p:cNvPr id="301" name="Rounded Rectangle 300"/>
                <p:cNvSpPr/>
                <p:nvPr/>
              </p:nvSpPr>
              <p:spPr bwMode="auto">
                <a:xfrm rot="5400000">
                  <a:off x="5177682" y="2438708"/>
                  <a:ext cx="411480" cy="95477"/>
                </a:xfrm>
                <a:prstGeom prst="roundRect">
                  <a:avLst>
                    <a:gd name="adj" fmla="val 50000"/>
                  </a:avLst>
                </a:prstGeom>
                <a:grpFill/>
                <a:ln>
                  <a:noFill/>
                </a:ln>
                <a:effectLst/>
                <a:extLst/>
              </p:spPr>
              <p:txBody>
                <a:bodyPr vert="horz" wrap="none" lIns="90488" tIns="44450" rIns="90488" bIns="4445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lnSpc>
                      <a:spcPct val="110000"/>
                    </a:lnSpc>
                    <a:defRPr/>
                  </a:pPr>
                  <a:endParaRPr lang="en-US" b="1" kern="0" dirty="0">
                    <a:solidFill>
                      <a:srgbClr val="000000"/>
                    </a:solidFill>
                    <a:latin typeface="Honeywell Sans" panose="02010503040101060203" pitchFamily="50" charset="0"/>
                    <a:cs typeface="Arial" pitchFamily="34" charset="0"/>
                  </a:endParaRPr>
                </a:p>
              </p:txBody>
            </p:sp>
            <p:sp>
              <p:nvSpPr>
                <p:cNvPr id="302" name="Rounded Rectangle 301"/>
                <p:cNvSpPr/>
                <p:nvPr/>
              </p:nvSpPr>
              <p:spPr bwMode="auto">
                <a:xfrm rot="5400000">
                  <a:off x="5177682" y="2834949"/>
                  <a:ext cx="411480" cy="95477"/>
                </a:xfrm>
                <a:prstGeom prst="roundRect">
                  <a:avLst>
                    <a:gd name="adj" fmla="val 50000"/>
                  </a:avLst>
                </a:prstGeom>
                <a:grpFill/>
                <a:ln>
                  <a:noFill/>
                </a:ln>
                <a:effectLst/>
                <a:extLst/>
              </p:spPr>
              <p:txBody>
                <a:bodyPr vert="horz" wrap="none" lIns="90488" tIns="44450" rIns="90488" bIns="4445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lnSpc>
                      <a:spcPct val="110000"/>
                    </a:lnSpc>
                    <a:defRPr/>
                  </a:pPr>
                  <a:endParaRPr lang="en-US" b="1" kern="0" dirty="0">
                    <a:solidFill>
                      <a:srgbClr val="000000"/>
                    </a:solidFill>
                    <a:latin typeface="Honeywell Sans" panose="02010503040101060203" pitchFamily="50" charset="0"/>
                    <a:cs typeface="Arial" pitchFamily="34" charset="0"/>
                  </a:endParaRPr>
                </a:p>
              </p:txBody>
            </p:sp>
          </p:grpSp>
        </p:grpSp>
        <p:sp>
          <p:nvSpPr>
            <p:cNvPr id="285" name="Circular Arrow 284"/>
            <p:cNvSpPr/>
            <p:nvPr/>
          </p:nvSpPr>
          <p:spPr>
            <a:xfrm rot="6783528">
              <a:off x="1535571" y="4437610"/>
              <a:ext cx="778408" cy="741537"/>
            </a:xfrm>
            <a:prstGeom prst="circularArrow">
              <a:avLst>
                <a:gd name="adj1" fmla="val 8362"/>
                <a:gd name="adj2" fmla="val 589"/>
                <a:gd name="adj3" fmla="val 16913361"/>
                <a:gd name="adj4" fmla="val 16125715"/>
                <a:gd name="adj5" fmla="val 4181"/>
              </a:avLst>
            </a:prstGeom>
            <a:solidFill>
              <a:schemeClr val="tx1">
                <a:lumMod val="65000"/>
                <a:lumOff val="35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 kern="0">
                <a:solidFill>
                  <a:srgbClr val="FFFFFF"/>
                </a:solidFill>
                <a:latin typeface="Honeywell Sans" panose="02010503040101060203" pitchFamily="50" charset="0"/>
              </a:endParaRPr>
            </a:p>
          </p:txBody>
        </p:sp>
        <p:sp>
          <p:nvSpPr>
            <p:cNvPr id="286" name="Circular Arrow 285"/>
            <p:cNvSpPr/>
            <p:nvPr/>
          </p:nvSpPr>
          <p:spPr>
            <a:xfrm rot="1800000">
              <a:off x="1563487" y="4461221"/>
              <a:ext cx="759283" cy="750812"/>
            </a:xfrm>
            <a:prstGeom prst="circularArrow">
              <a:avLst>
                <a:gd name="adj1" fmla="val 8173"/>
                <a:gd name="adj2" fmla="val 826436"/>
                <a:gd name="adj3" fmla="val 16952934"/>
                <a:gd name="adj4" fmla="val 999999"/>
                <a:gd name="adj5" fmla="val 8955"/>
              </a:avLst>
            </a:prstGeom>
            <a:solidFill>
              <a:schemeClr val="tx1">
                <a:lumMod val="65000"/>
                <a:lumOff val="35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 kern="0">
                <a:solidFill>
                  <a:srgbClr val="FFFFFF"/>
                </a:solidFill>
                <a:latin typeface="Honeywell Sans" panose="02010503040101060203" pitchFamily="50" charset="0"/>
              </a:endParaRPr>
            </a:p>
          </p:txBody>
        </p:sp>
        <p:sp>
          <p:nvSpPr>
            <p:cNvPr id="287" name="Circular Arrow 286"/>
            <p:cNvSpPr/>
            <p:nvPr/>
          </p:nvSpPr>
          <p:spPr>
            <a:xfrm rot="7931990">
              <a:off x="1535320" y="4434289"/>
              <a:ext cx="778408" cy="741537"/>
            </a:xfrm>
            <a:prstGeom prst="circularArrow">
              <a:avLst>
                <a:gd name="adj1" fmla="val 17910"/>
                <a:gd name="adj2" fmla="val 589"/>
                <a:gd name="adj3" fmla="val 16608121"/>
                <a:gd name="adj4" fmla="val 15662810"/>
                <a:gd name="adj5" fmla="val 4181"/>
              </a:avLst>
            </a:prstGeom>
            <a:solidFill>
              <a:schemeClr val="tx1">
                <a:lumMod val="65000"/>
                <a:lumOff val="35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 kern="0">
                <a:solidFill>
                  <a:srgbClr val="FFFFFF"/>
                </a:solidFill>
                <a:latin typeface="Honeywell Sans" panose="02010503040101060203" pitchFamily="50" charset="0"/>
              </a:endParaRPr>
            </a:p>
          </p:txBody>
        </p:sp>
      </p:grpSp>
      <p:sp>
        <p:nvSpPr>
          <p:cNvPr id="318" name="Freeform: Shape 706"/>
          <p:cNvSpPr/>
          <p:nvPr/>
        </p:nvSpPr>
        <p:spPr>
          <a:xfrm rot="7509645">
            <a:off x="8188445" y="1539909"/>
            <a:ext cx="299330" cy="154651"/>
          </a:xfrm>
          <a:custGeom>
            <a:avLst/>
            <a:gdLst>
              <a:gd name="connsiteX0" fmla="*/ 0 w 357007"/>
              <a:gd name="connsiteY0" fmla="*/ 80614 h 87524"/>
              <a:gd name="connsiteX1" fmla="*/ 200385 w 357007"/>
              <a:gd name="connsiteY1" fmla="*/ 0 h 87524"/>
              <a:gd name="connsiteX2" fmla="*/ 357007 w 357007"/>
              <a:gd name="connsiteY2" fmla="*/ 87524 h 875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57007" h="87524">
                <a:moveTo>
                  <a:pt x="0" y="80614"/>
                </a:moveTo>
                <a:lnTo>
                  <a:pt x="200385" y="0"/>
                </a:lnTo>
                <a:lnTo>
                  <a:pt x="357007" y="87524"/>
                </a:lnTo>
              </a:path>
            </a:pathLst>
          </a:custGeom>
          <a:noFill/>
          <a:ln w="28575" cap="rnd">
            <a:solidFill>
              <a:schemeClr val="accent3">
                <a:lumMod val="60000"/>
                <a:lumOff val="40000"/>
              </a:schemeClr>
            </a:solidFill>
            <a:prstDash val="soli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20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319" name="Freeform: Shape 706"/>
          <p:cNvSpPr/>
          <p:nvPr/>
        </p:nvSpPr>
        <p:spPr>
          <a:xfrm rot="6725207">
            <a:off x="9554814" y="1508890"/>
            <a:ext cx="299330" cy="154651"/>
          </a:xfrm>
          <a:custGeom>
            <a:avLst/>
            <a:gdLst>
              <a:gd name="connsiteX0" fmla="*/ 0 w 357007"/>
              <a:gd name="connsiteY0" fmla="*/ 80614 h 87524"/>
              <a:gd name="connsiteX1" fmla="*/ 200385 w 357007"/>
              <a:gd name="connsiteY1" fmla="*/ 0 h 87524"/>
              <a:gd name="connsiteX2" fmla="*/ 357007 w 357007"/>
              <a:gd name="connsiteY2" fmla="*/ 87524 h 875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57007" h="87524">
                <a:moveTo>
                  <a:pt x="0" y="80614"/>
                </a:moveTo>
                <a:lnTo>
                  <a:pt x="200385" y="0"/>
                </a:lnTo>
                <a:lnTo>
                  <a:pt x="357007" y="87524"/>
                </a:lnTo>
              </a:path>
            </a:pathLst>
          </a:custGeom>
          <a:noFill/>
          <a:ln w="28575" cap="rnd">
            <a:solidFill>
              <a:schemeClr val="accent3">
                <a:lumMod val="60000"/>
                <a:lumOff val="40000"/>
              </a:schemeClr>
            </a:solidFill>
            <a:prstDash val="soli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20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grpSp>
        <p:nvGrpSpPr>
          <p:cNvPr id="320" name="Group 319"/>
          <p:cNvGrpSpPr/>
          <p:nvPr/>
        </p:nvGrpSpPr>
        <p:grpSpPr>
          <a:xfrm>
            <a:off x="4847537" y="475258"/>
            <a:ext cx="822960" cy="822960"/>
            <a:chOff x="2924845" y="635158"/>
            <a:chExt cx="922952" cy="879234"/>
          </a:xfrm>
        </p:grpSpPr>
        <p:sp>
          <p:nvSpPr>
            <p:cNvPr id="321" name="Oval 320"/>
            <p:cNvSpPr/>
            <p:nvPr/>
          </p:nvSpPr>
          <p:spPr>
            <a:xfrm>
              <a:off x="2924845" y="635158"/>
              <a:ext cx="922952" cy="879234"/>
            </a:xfrm>
            <a:prstGeom prst="ellipse">
              <a:avLst/>
            </a:prstGeom>
            <a:solidFill>
              <a:schemeClr val="bg1"/>
            </a:solidFill>
            <a:ln w="88900">
              <a:solidFill>
                <a:schemeClr val="accent3">
                  <a:alpha val="20000"/>
                </a:schemeClr>
              </a:solidFill>
            </a:ln>
            <a:effectLst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kern="0" dirty="0">
                <a:solidFill>
                  <a:srgbClr val="E1261C"/>
                </a:solidFill>
                <a:latin typeface="Honeywell Sans" panose="02010503040101060203" pitchFamily="50" charset="0"/>
              </a:endParaRPr>
            </a:p>
          </p:txBody>
        </p:sp>
        <p:grpSp>
          <p:nvGrpSpPr>
            <p:cNvPr id="322" name="Group 111"/>
            <p:cNvGrpSpPr/>
            <p:nvPr/>
          </p:nvGrpSpPr>
          <p:grpSpPr>
            <a:xfrm>
              <a:off x="3115779" y="852161"/>
              <a:ext cx="611099" cy="553134"/>
              <a:chOff x="7597290" y="5221630"/>
              <a:chExt cx="769945" cy="696912"/>
            </a:xfrm>
            <a:solidFill>
              <a:schemeClr val="tx1">
                <a:lumMod val="65000"/>
                <a:lumOff val="35000"/>
              </a:schemeClr>
            </a:solidFill>
          </p:grpSpPr>
          <p:sp>
            <p:nvSpPr>
              <p:cNvPr id="323" name="Freeform 101"/>
              <p:cNvSpPr>
                <a:spLocks noEditPoints="1"/>
              </p:cNvSpPr>
              <p:nvPr/>
            </p:nvSpPr>
            <p:spPr bwMode="auto">
              <a:xfrm>
                <a:off x="7859234" y="5267668"/>
                <a:ext cx="508001" cy="358775"/>
              </a:xfrm>
              <a:custGeom>
                <a:avLst/>
                <a:gdLst/>
                <a:ahLst/>
                <a:cxnLst>
                  <a:cxn ang="0">
                    <a:pos x="239" y="24"/>
                  </a:cxn>
                  <a:cxn ang="0">
                    <a:pos x="239" y="170"/>
                  </a:cxn>
                  <a:cxn ang="0">
                    <a:pos x="239" y="174"/>
                  </a:cxn>
                  <a:cxn ang="0">
                    <a:pos x="235" y="174"/>
                  </a:cxn>
                  <a:cxn ang="0">
                    <a:pos x="10" y="174"/>
                  </a:cxn>
                  <a:cxn ang="0">
                    <a:pos x="6" y="174"/>
                  </a:cxn>
                  <a:cxn ang="0">
                    <a:pos x="6" y="170"/>
                  </a:cxn>
                  <a:cxn ang="0">
                    <a:pos x="6" y="116"/>
                  </a:cxn>
                  <a:cxn ang="0">
                    <a:pos x="8" y="118"/>
                  </a:cxn>
                  <a:cxn ang="0">
                    <a:pos x="15" y="121"/>
                  </a:cxn>
                  <a:cxn ang="0">
                    <a:pos x="15" y="165"/>
                  </a:cxn>
                  <a:cxn ang="0">
                    <a:pos x="230" y="165"/>
                  </a:cxn>
                  <a:cxn ang="0">
                    <a:pos x="230" y="24"/>
                  </a:cxn>
                  <a:cxn ang="0">
                    <a:pos x="239" y="24"/>
                  </a:cxn>
                  <a:cxn ang="0">
                    <a:pos x="50" y="130"/>
                  </a:cxn>
                  <a:cxn ang="0">
                    <a:pos x="90" y="110"/>
                  </a:cxn>
                  <a:cxn ang="0">
                    <a:pos x="118" y="115"/>
                  </a:cxn>
                  <a:cxn ang="0">
                    <a:pos x="150" y="61"/>
                  </a:cxn>
                  <a:cxn ang="0">
                    <a:pos x="183" y="78"/>
                  </a:cxn>
                  <a:cxn ang="0">
                    <a:pos x="209" y="64"/>
                  </a:cxn>
                  <a:cxn ang="0">
                    <a:pos x="214" y="75"/>
                  </a:cxn>
                  <a:cxn ang="0">
                    <a:pos x="183" y="92"/>
                  </a:cxn>
                  <a:cxn ang="0">
                    <a:pos x="154" y="77"/>
                  </a:cxn>
                  <a:cxn ang="0">
                    <a:pos x="124" y="128"/>
                  </a:cxn>
                  <a:cxn ang="0">
                    <a:pos x="92" y="122"/>
                  </a:cxn>
                  <a:cxn ang="0">
                    <a:pos x="55" y="141"/>
                  </a:cxn>
                  <a:cxn ang="0">
                    <a:pos x="50" y="130"/>
                  </a:cxn>
                  <a:cxn ang="0">
                    <a:pos x="0" y="0"/>
                  </a:cxn>
                  <a:cxn ang="0">
                    <a:pos x="246" y="0"/>
                  </a:cxn>
                  <a:cxn ang="0">
                    <a:pos x="246" y="19"/>
                  </a:cxn>
                  <a:cxn ang="0">
                    <a:pos x="0" y="19"/>
                  </a:cxn>
                  <a:cxn ang="0">
                    <a:pos x="0" y="0"/>
                  </a:cxn>
                  <a:cxn ang="0">
                    <a:pos x="6" y="63"/>
                  </a:cxn>
                  <a:cxn ang="0">
                    <a:pos x="6" y="24"/>
                  </a:cxn>
                  <a:cxn ang="0">
                    <a:pos x="15" y="24"/>
                  </a:cxn>
                  <a:cxn ang="0">
                    <a:pos x="15" y="70"/>
                  </a:cxn>
                  <a:cxn ang="0">
                    <a:pos x="6" y="63"/>
                  </a:cxn>
                </a:cxnLst>
                <a:rect l="0" t="0" r="r" b="b"/>
                <a:pathLst>
                  <a:path w="246" h="174">
                    <a:moveTo>
                      <a:pt x="239" y="24"/>
                    </a:moveTo>
                    <a:cubicBezTo>
                      <a:pt x="239" y="170"/>
                      <a:pt x="239" y="170"/>
                      <a:pt x="239" y="170"/>
                    </a:cubicBezTo>
                    <a:cubicBezTo>
                      <a:pt x="239" y="174"/>
                      <a:pt x="239" y="174"/>
                      <a:pt x="239" y="174"/>
                    </a:cubicBezTo>
                    <a:cubicBezTo>
                      <a:pt x="235" y="174"/>
                      <a:pt x="235" y="174"/>
                      <a:pt x="235" y="174"/>
                    </a:cubicBezTo>
                    <a:cubicBezTo>
                      <a:pt x="10" y="174"/>
                      <a:pt x="10" y="174"/>
                      <a:pt x="10" y="174"/>
                    </a:cubicBezTo>
                    <a:cubicBezTo>
                      <a:pt x="6" y="174"/>
                      <a:pt x="6" y="174"/>
                      <a:pt x="6" y="174"/>
                    </a:cubicBezTo>
                    <a:cubicBezTo>
                      <a:pt x="6" y="170"/>
                      <a:pt x="6" y="170"/>
                      <a:pt x="6" y="170"/>
                    </a:cubicBezTo>
                    <a:cubicBezTo>
                      <a:pt x="6" y="116"/>
                      <a:pt x="6" y="116"/>
                      <a:pt x="6" y="116"/>
                    </a:cubicBezTo>
                    <a:cubicBezTo>
                      <a:pt x="8" y="118"/>
                      <a:pt x="8" y="118"/>
                      <a:pt x="8" y="118"/>
                    </a:cubicBezTo>
                    <a:cubicBezTo>
                      <a:pt x="10" y="120"/>
                      <a:pt x="12" y="121"/>
                      <a:pt x="15" y="121"/>
                    </a:cubicBezTo>
                    <a:cubicBezTo>
                      <a:pt x="15" y="165"/>
                      <a:pt x="15" y="165"/>
                      <a:pt x="15" y="165"/>
                    </a:cubicBezTo>
                    <a:cubicBezTo>
                      <a:pt x="230" y="165"/>
                      <a:pt x="230" y="165"/>
                      <a:pt x="230" y="165"/>
                    </a:cubicBezTo>
                    <a:cubicBezTo>
                      <a:pt x="230" y="24"/>
                      <a:pt x="230" y="24"/>
                      <a:pt x="230" y="24"/>
                    </a:cubicBezTo>
                    <a:cubicBezTo>
                      <a:pt x="239" y="24"/>
                      <a:pt x="239" y="24"/>
                      <a:pt x="239" y="24"/>
                    </a:cubicBezTo>
                    <a:close/>
                    <a:moveTo>
                      <a:pt x="50" y="130"/>
                    </a:moveTo>
                    <a:cubicBezTo>
                      <a:pt x="90" y="110"/>
                      <a:pt x="90" y="110"/>
                      <a:pt x="90" y="110"/>
                    </a:cubicBezTo>
                    <a:cubicBezTo>
                      <a:pt x="118" y="115"/>
                      <a:pt x="118" y="115"/>
                      <a:pt x="118" y="115"/>
                    </a:cubicBezTo>
                    <a:cubicBezTo>
                      <a:pt x="150" y="61"/>
                      <a:pt x="150" y="61"/>
                      <a:pt x="150" y="61"/>
                    </a:cubicBezTo>
                    <a:cubicBezTo>
                      <a:pt x="183" y="78"/>
                      <a:pt x="183" y="78"/>
                      <a:pt x="183" y="78"/>
                    </a:cubicBezTo>
                    <a:cubicBezTo>
                      <a:pt x="209" y="64"/>
                      <a:pt x="209" y="64"/>
                      <a:pt x="209" y="64"/>
                    </a:cubicBezTo>
                    <a:cubicBezTo>
                      <a:pt x="214" y="75"/>
                      <a:pt x="214" y="75"/>
                      <a:pt x="214" y="75"/>
                    </a:cubicBezTo>
                    <a:cubicBezTo>
                      <a:pt x="183" y="92"/>
                      <a:pt x="183" y="92"/>
                      <a:pt x="183" y="92"/>
                    </a:cubicBezTo>
                    <a:cubicBezTo>
                      <a:pt x="154" y="77"/>
                      <a:pt x="154" y="77"/>
                      <a:pt x="154" y="77"/>
                    </a:cubicBezTo>
                    <a:cubicBezTo>
                      <a:pt x="124" y="128"/>
                      <a:pt x="124" y="128"/>
                      <a:pt x="124" y="128"/>
                    </a:cubicBezTo>
                    <a:cubicBezTo>
                      <a:pt x="92" y="122"/>
                      <a:pt x="92" y="122"/>
                      <a:pt x="92" y="122"/>
                    </a:cubicBezTo>
                    <a:cubicBezTo>
                      <a:pt x="55" y="141"/>
                      <a:pt x="55" y="141"/>
                      <a:pt x="55" y="141"/>
                    </a:cubicBezTo>
                    <a:cubicBezTo>
                      <a:pt x="50" y="130"/>
                      <a:pt x="50" y="130"/>
                      <a:pt x="50" y="130"/>
                    </a:cubicBezTo>
                    <a:close/>
                    <a:moveTo>
                      <a:pt x="0" y="0"/>
                    </a:moveTo>
                    <a:cubicBezTo>
                      <a:pt x="246" y="0"/>
                      <a:pt x="246" y="0"/>
                      <a:pt x="246" y="0"/>
                    </a:cubicBezTo>
                    <a:cubicBezTo>
                      <a:pt x="246" y="19"/>
                      <a:pt x="246" y="19"/>
                      <a:pt x="246" y="1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  <a:moveTo>
                      <a:pt x="6" y="63"/>
                    </a:moveTo>
                    <a:cubicBezTo>
                      <a:pt x="6" y="24"/>
                      <a:pt x="6" y="24"/>
                      <a:pt x="6" y="24"/>
                    </a:cubicBezTo>
                    <a:cubicBezTo>
                      <a:pt x="15" y="24"/>
                      <a:pt x="15" y="24"/>
                      <a:pt x="15" y="24"/>
                    </a:cubicBezTo>
                    <a:cubicBezTo>
                      <a:pt x="15" y="70"/>
                      <a:pt x="15" y="70"/>
                      <a:pt x="15" y="70"/>
                    </a:cubicBezTo>
                    <a:cubicBezTo>
                      <a:pt x="6" y="63"/>
                      <a:pt x="6" y="63"/>
                      <a:pt x="6" y="63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GB" kern="0" dirty="0">
                  <a:solidFill>
                    <a:srgbClr val="000000"/>
                  </a:solidFill>
                  <a:latin typeface="Honeywell Sans" panose="02010503040101060203" pitchFamily="50" charset="0"/>
                  <a:cs typeface="Arial" pitchFamily="34" charset="0"/>
                </a:endParaRPr>
              </a:p>
            </p:txBody>
          </p:sp>
          <p:sp>
            <p:nvSpPr>
              <p:cNvPr id="324" name="Freeform 102"/>
              <p:cNvSpPr>
                <a:spLocks noEditPoints="1"/>
              </p:cNvSpPr>
              <p:nvPr/>
            </p:nvSpPr>
            <p:spPr bwMode="auto">
              <a:xfrm>
                <a:off x="7597290" y="5221630"/>
                <a:ext cx="434975" cy="696912"/>
              </a:xfrm>
              <a:custGeom>
                <a:avLst/>
                <a:gdLst/>
                <a:ahLst/>
                <a:cxnLst>
                  <a:cxn ang="0">
                    <a:pos x="96" y="29"/>
                  </a:cxn>
                  <a:cxn ang="0">
                    <a:pos x="69" y="0"/>
                  </a:cxn>
                  <a:cxn ang="0">
                    <a:pos x="42" y="29"/>
                  </a:cxn>
                  <a:cxn ang="0">
                    <a:pos x="69" y="72"/>
                  </a:cxn>
                  <a:cxn ang="0">
                    <a:pos x="96" y="29"/>
                  </a:cxn>
                  <a:cxn ang="0">
                    <a:pos x="124" y="87"/>
                  </a:cxn>
                  <a:cxn ang="0">
                    <a:pos x="152" y="108"/>
                  </a:cxn>
                  <a:cxn ang="0">
                    <a:pos x="195" y="104"/>
                  </a:cxn>
                  <a:cxn ang="0">
                    <a:pos x="210" y="116"/>
                  </a:cxn>
                  <a:cxn ang="0">
                    <a:pos x="198" y="131"/>
                  </a:cxn>
                  <a:cxn ang="0">
                    <a:pos x="150" y="137"/>
                  </a:cxn>
                  <a:cxn ang="0">
                    <a:pos x="139" y="134"/>
                  </a:cxn>
                  <a:cxn ang="0">
                    <a:pos x="110" y="112"/>
                  </a:cxn>
                  <a:cxn ang="0">
                    <a:pos x="110" y="211"/>
                  </a:cxn>
                  <a:cxn ang="0">
                    <a:pos x="108" y="311"/>
                  </a:cxn>
                  <a:cxn ang="0">
                    <a:pos x="71" y="325"/>
                  </a:cxn>
                  <a:cxn ang="0">
                    <a:pos x="71" y="202"/>
                  </a:cxn>
                  <a:cxn ang="0">
                    <a:pos x="69" y="201"/>
                  </a:cxn>
                  <a:cxn ang="0">
                    <a:pos x="67" y="202"/>
                  </a:cxn>
                  <a:cxn ang="0">
                    <a:pos x="67" y="325"/>
                  </a:cxn>
                  <a:cxn ang="0">
                    <a:pos x="29" y="311"/>
                  </a:cxn>
                  <a:cxn ang="0">
                    <a:pos x="27" y="211"/>
                  </a:cxn>
                  <a:cxn ang="0">
                    <a:pos x="27" y="134"/>
                  </a:cxn>
                  <a:cxn ang="0">
                    <a:pos x="28" y="118"/>
                  </a:cxn>
                  <a:cxn ang="0">
                    <a:pos x="32" y="103"/>
                  </a:cxn>
                  <a:cxn ang="0">
                    <a:pos x="23" y="134"/>
                  </a:cxn>
                  <a:cxn ang="0">
                    <a:pos x="23" y="208"/>
                  </a:cxn>
                  <a:cxn ang="0">
                    <a:pos x="1" y="199"/>
                  </a:cxn>
                  <a:cxn ang="0">
                    <a:pos x="1" y="142"/>
                  </a:cxn>
                  <a:cxn ang="0">
                    <a:pos x="9" y="96"/>
                  </a:cxn>
                  <a:cxn ang="0">
                    <a:pos x="41" y="73"/>
                  </a:cxn>
                  <a:cxn ang="0">
                    <a:pos x="46" y="73"/>
                  </a:cxn>
                  <a:cxn ang="0">
                    <a:pos x="64" y="99"/>
                  </a:cxn>
                  <a:cxn ang="0">
                    <a:pos x="64" y="86"/>
                  </a:cxn>
                  <a:cxn ang="0">
                    <a:pos x="61" y="82"/>
                  </a:cxn>
                  <a:cxn ang="0">
                    <a:pos x="69" y="77"/>
                  </a:cxn>
                  <a:cxn ang="0">
                    <a:pos x="69" y="77"/>
                  </a:cxn>
                  <a:cxn ang="0">
                    <a:pos x="76" y="82"/>
                  </a:cxn>
                  <a:cxn ang="0">
                    <a:pos x="73" y="86"/>
                  </a:cxn>
                  <a:cxn ang="0">
                    <a:pos x="74" y="99"/>
                  </a:cxn>
                  <a:cxn ang="0">
                    <a:pos x="91" y="73"/>
                  </a:cxn>
                  <a:cxn ang="0">
                    <a:pos x="124" y="87"/>
                  </a:cxn>
                </a:cxnLst>
                <a:rect l="0" t="0" r="r" b="b"/>
                <a:pathLst>
                  <a:path w="211" h="337">
                    <a:moveTo>
                      <a:pt x="96" y="29"/>
                    </a:moveTo>
                    <a:cubicBezTo>
                      <a:pt x="95" y="13"/>
                      <a:pt x="86" y="0"/>
                      <a:pt x="69" y="0"/>
                    </a:cubicBezTo>
                    <a:cubicBezTo>
                      <a:pt x="52" y="0"/>
                      <a:pt x="42" y="13"/>
                      <a:pt x="42" y="29"/>
                    </a:cubicBezTo>
                    <a:cubicBezTo>
                      <a:pt x="41" y="57"/>
                      <a:pt x="55" y="72"/>
                      <a:pt x="69" y="72"/>
                    </a:cubicBezTo>
                    <a:cubicBezTo>
                      <a:pt x="83" y="72"/>
                      <a:pt x="96" y="57"/>
                      <a:pt x="96" y="29"/>
                    </a:cubicBezTo>
                    <a:close/>
                    <a:moveTo>
                      <a:pt x="124" y="87"/>
                    </a:moveTo>
                    <a:cubicBezTo>
                      <a:pt x="152" y="108"/>
                      <a:pt x="152" y="108"/>
                      <a:pt x="152" y="108"/>
                    </a:cubicBezTo>
                    <a:cubicBezTo>
                      <a:pt x="195" y="104"/>
                      <a:pt x="195" y="104"/>
                      <a:pt x="195" y="104"/>
                    </a:cubicBezTo>
                    <a:cubicBezTo>
                      <a:pt x="203" y="103"/>
                      <a:pt x="210" y="109"/>
                      <a:pt x="210" y="116"/>
                    </a:cubicBezTo>
                    <a:cubicBezTo>
                      <a:pt x="211" y="124"/>
                      <a:pt x="206" y="131"/>
                      <a:pt x="198" y="131"/>
                    </a:cubicBezTo>
                    <a:cubicBezTo>
                      <a:pt x="150" y="137"/>
                      <a:pt x="150" y="137"/>
                      <a:pt x="150" y="137"/>
                    </a:cubicBezTo>
                    <a:cubicBezTo>
                      <a:pt x="146" y="137"/>
                      <a:pt x="142" y="136"/>
                      <a:pt x="139" y="134"/>
                    </a:cubicBezTo>
                    <a:cubicBezTo>
                      <a:pt x="110" y="112"/>
                      <a:pt x="110" y="112"/>
                      <a:pt x="110" y="112"/>
                    </a:cubicBezTo>
                    <a:cubicBezTo>
                      <a:pt x="110" y="211"/>
                      <a:pt x="110" y="211"/>
                      <a:pt x="110" y="211"/>
                    </a:cubicBezTo>
                    <a:cubicBezTo>
                      <a:pt x="108" y="311"/>
                      <a:pt x="108" y="311"/>
                      <a:pt x="108" y="311"/>
                    </a:cubicBezTo>
                    <a:cubicBezTo>
                      <a:pt x="108" y="331"/>
                      <a:pt x="83" y="337"/>
                      <a:pt x="71" y="325"/>
                    </a:cubicBezTo>
                    <a:cubicBezTo>
                      <a:pt x="71" y="202"/>
                      <a:pt x="71" y="202"/>
                      <a:pt x="71" y="202"/>
                    </a:cubicBezTo>
                    <a:cubicBezTo>
                      <a:pt x="71" y="201"/>
                      <a:pt x="70" y="201"/>
                      <a:pt x="69" y="201"/>
                    </a:cubicBezTo>
                    <a:cubicBezTo>
                      <a:pt x="68" y="201"/>
                      <a:pt x="67" y="201"/>
                      <a:pt x="67" y="202"/>
                    </a:cubicBezTo>
                    <a:cubicBezTo>
                      <a:pt x="67" y="325"/>
                      <a:pt x="67" y="325"/>
                      <a:pt x="67" y="325"/>
                    </a:cubicBezTo>
                    <a:cubicBezTo>
                      <a:pt x="54" y="337"/>
                      <a:pt x="29" y="331"/>
                      <a:pt x="29" y="311"/>
                    </a:cubicBezTo>
                    <a:cubicBezTo>
                      <a:pt x="27" y="211"/>
                      <a:pt x="27" y="211"/>
                      <a:pt x="27" y="211"/>
                    </a:cubicBezTo>
                    <a:cubicBezTo>
                      <a:pt x="27" y="134"/>
                      <a:pt x="27" y="134"/>
                      <a:pt x="27" y="134"/>
                    </a:cubicBezTo>
                    <a:cubicBezTo>
                      <a:pt x="27" y="128"/>
                      <a:pt x="28" y="123"/>
                      <a:pt x="28" y="118"/>
                    </a:cubicBezTo>
                    <a:cubicBezTo>
                      <a:pt x="29" y="113"/>
                      <a:pt x="30" y="108"/>
                      <a:pt x="32" y="103"/>
                    </a:cubicBezTo>
                    <a:cubicBezTo>
                      <a:pt x="33" y="97"/>
                      <a:pt x="23" y="110"/>
                      <a:pt x="23" y="134"/>
                    </a:cubicBezTo>
                    <a:cubicBezTo>
                      <a:pt x="23" y="208"/>
                      <a:pt x="23" y="208"/>
                      <a:pt x="23" y="208"/>
                    </a:cubicBezTo>
                    <a:cubicBezTo>
                      <a:pt x="15" y="211"/>
                      <a:pt x="0" y="207"/>
                      <a:pt x="1" y="199"/>
                    </a:cubicBezTo>
                    <a:cubicBezTo>
                      <a:pt x="1" y="175"/>
                      <a:pt x="1" y="166"/>
                      <a:pt x="1" y="142"/>
                    </a:cubicBezTo>
                    <a:cubicBezTo>
                      <a:pt x="1" y="126"/>
                      <a:pt x="2" y="109"/>
                      <a:pt x="9" y="96"/>
                    </a:cubicBezTo>
                    <a:cubicBezTo>
                      <a:pt x="15" y="84"/>
                      <a:pt x="27" y="73"/>
                      <a:pt x="41" y="73"/>
                    </a:cubicBezTo>
                    <a:cubicBezTo>
                      <a:pt x="46" y="73"/>
                      <a:pt x="46" y="73"/>
                      <a:pt x="46" y="73"/>
                    </a:cubicBezTo>
                    <a:cubicBezTo>
                      <a:pt x="64" y="99"/>
                      <a:pt x="64" y="99"/>
                      <a:pt x="64" y="99"/>
                    </a:cubicBezTo>
                    <a:cubicBezTo>
                      <a:pt x="64" y="86"/>
                      <a:pt x="64" y="86"/>
                      <a:pt x="64" y="86"/>
                    </a:cubicBezTo>
                    <a:cubicBezTo>
                      <a:pt x="61" y="82"/>
                      <a:pt x="61" y="82"/>
                      <a:pt x="61" y="82"/>
                    </a:cubicBezTo>
                    <a:cubicBezTo>
                      <a:pt x="69" y="77"/>
                      <a:pt x="69" y="77"/>
                      <a:pt x="69" y="77"/>
                    </a:cubicBezTo>
                    <a:cubicBezTo>
                      <a:pt x="69" y="77"/>
                      <a:pt x="69" y="77"/>
                      <a:pt x="69" y="77"/>
                    </a:cubicBezTo>
                    <a:cubicBezTo>
                      <a:pt x="76" y="82"/>
                      <a:pt x="76" y="82"/>
                      <a:pt x="76" y="82"/>
                    </a:cubicBezTo>
                    <a:cubicBezTo>
                      <a:pt x="73" y="86"/>
                      <a:pt x="73" y="86"/>
                      <a:pt x="73" y="86"/>
                    </a:cubicBezTo>
                    <a:cubicBezTo>
                      <a:pt x="74" y="99"/>
                      <a:pt x="74" y="99"/>
                      <a:pt x="74" y="99"/>
                    </a:cubicBezTo>
                    <a:cubicBezTo>
                      <a:pt x="91" y="73"/>
                      <a:pt x="91" y="73"/>
                      <a:pt x="91" y="73"/>
                    </a:cubicBezTo>
                    <a:cubicBezTo>
                      <a:pt x="108" y="73"/>
                      <a:pt x="109" y="76"/>
                      <a:pt x="124" y="87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GB" kern="0">
                  <a:solidFill>
                    <a:srgbClr val="000000"/>
                  </a:solidFill>
                  <a:latin typeface="Honeywell Sans" panose="02010503040101060203" pitchFamily="50" charset="0"/>
                  <a:cs typeface="Arial" pitchFamily="34" charset="0"/>
                </a:endParaRPr>
              </a:p>
            </p:txBody>
          </p:sp>
        </p:grpSp>
      </p:grpSp>
      <p:sp>
        <p:nvSpPr>
          <p:cNvPr id="328" name="Freeform: Shape 706"/>
          <p:cNvSpPr/>
          <p:nvPr/>
        </p:nvSpPr>
        <p:spPr>
          <a:xfrm rot="3116629">
            <a:off x="1715290" y="1838495"/>
            <a:ext cx="299330" cy="154651"/>
          </a:xfrm>
          <a:custGeom>
            <a:avLst/>
            <a:gdLst>
              <a:gd name="connsiteX0" fmla="*/ 0 w 357007"/>
              <a:gd name="connsiteY0" fmla="*/ 80614 h 87524"/>
              <a:gd name="connsiteX1" fmla="*/ 200385 w 357007"/>
              <a:gd name="connsiteY1" fmla="*/ 0 h 87524"/>
              <a:gd name="connsiteX2" fmla="*/ 357007 w 357007"/>
              <a:gd name="connsiteY2" fmla="*/ 87524 h 875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57007" h="87524">
                <a:moveTo>
                  <a:pt x="0" y="80614"/>
                </a:moveTo>
                <a:lnTo>
                  <a:pt x="200385" y="0"/>
                </a:lnTo>
                <a:lnTo>
                  <a:pt x="357007" y="87524"/>
                </a:lnTo>
              </a:path>
            </a:pathLst>
          </a:custGeom>
          <a:noFill/>
          <a:ln w="28575" cap="rnd">
            <a:solidFill>
              <a:schemeClr val="accent3">
                <a:lumMod val="60000"/>
                <a:lumOff val="40000"/>
              </a:schemeClr>
            </a:solidFill>
            <a:prstDash val="soli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20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329" name="Freeform: Shape 706"/>
          <p:cNvSpPr/>
          <p:nvPr/>
        </p:nvSpPr>
        <p:spPr>
          <a:xfrm rot="19988223">
            <a:off x="721216" y="3696635"/>
            <a:ext cx="299330" cy="154651"/>
          </a:xfrm>
          <a:custGeom>
            <a:avLst/>
            <a:gdLst>
              <a:gd name="connsiteX0" fmla="*/ 0 w 357007"/>
              <a:gd name="connsiteY0" fmla="*/ 80614 h 87524"/>
              <a:gd name="connsiteX1" fmla="*/ 200385 w 357007"/>
              <a:gd name="connsiteY1" fmla="*/ 0 h 87524"/>
              <a:gd name="connsiteX2" fmla="*/ 357007 w 357007"/>
              <a:gd name="connsiteY2" fmla="*/ 87524 h 875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57007" h="87524">
                <a:moveTo>
                  <a:pt x="0" y="80614"/>
                </a:moveTo>
                <a:lnTo>
                  <a:pt x="200385" y="0"/>
                </a:lnTo>
                <a:lnTo>
                  <a:pt x="357007" y="87524"/>
                </a:lnTo>
              </a:path>
            </a:pathLst>
          </a:custGeom>
          <a:noFill/>
          <a:ln w="28575" cap="rnd">
            <a:solidFill>
              <a:schemeClr val="accent3">
                <a:lumMod val="60000"/>
                <a:lumOff val="40000"/>
              </a:schemeClr>
            </a:solidFill>
            <a:prstDash val="soli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20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330" name="Rounded Rectangle 329"/>
          <p:cNvSpPr/>
          <p:nvPr/>
        </p:nvSpPr>
        <p:spPr>
          <a:xfrm>
            <a:off x="1348774" y="5326333"/>
            <a:ext cx="9655816" cy="1024742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88900">
            <a:solidFill>
              <a:schemeClr val="accent3">
                <a:alpha val="20000"/>
              </a:schemeClr>
            </a:solidFill>
          </a:ln>
          <a:effec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kern="0" dirty="0">
              <a:solidFill>
                <a:srgbClr val="E1261C"/>
              </a:solidFill>
              <a:latin typeface="Honeywell Sans" panose="02010503040101060203" pitchFamily="50" charset="0"/>
            </a:endParaRPr>
          </a:p>
        </p:txBody>
      </p:sp>
      <p:grpSp>
        <p:nvGrpSpPr>
          <p:cNvPr id="331" name="Group 330"/>
          <p:cNvGrpSpPr/>
          <p:nvPr/>
        </p:nvGrpSpPr>
        <p:grpSpPr>
          <a:xfrm>
            <a:off x="2044354" y="5447877"/>
            <a:ext cx="8365873" cy="878256"/>
            <a:chOff x="2211047" y="5544933"/>
            <a:chExt cx="6124251" cy="612475"/>
          </a:xfrm>
        </p:grpSpPr>
        <p:grpSp>
          <p:nvGrpSpPr>
            <p:cNvPr id="332" name="Group 417"/>
            <p:cNvGrpSpPr/>
            <p:nvPr/>
          </p:nvGrpSpPr>
          <p:grpSpPr>
            <a:xfrm>
              <a:off x="2211047" y="5544933"/>
              <a:ext cx="872962" cy="612475"/>
              <a:chOff x="334385" y="690097"/>
              <a:chExt cx="2031443" cy="1425272"/>
            </a:xfrm>
            <a:solidFill>
              <a:schemeClr val="bg1">
                <a:lumMod val="65000"/>
              </a:schemeClr>
            </a:solidFill>
          </p:grpSpPr>
          <p:sp>
            <p:nvSpPr>
              <p:cNvPr id="382" name="Oval 381"/>
              <p:cNvSpPr/>
              <p:nvPr/>
            </p:nvSpPr>
            <p:spPr bwMode="auto">
              <a:xfrm flipH="1">
                <a:off x="1829280" y="2087937"/>
                <a:ext cx="137160" cy="27432"/>
              </a:xfrm>
              <a:prstGeom prst="ellipse">
                <a:avLst/>
              </a:pr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12699" cap="flat" cmpd="sng" algn="ctr">
                    <a:solidFill>
                      <a:schemeClr val="tx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none" lIns="90488" tIns="44450" rIns="90488" bIns="44450" numCol="1" rtlCol="0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defRPr/>
                </a:pPr>
                <a:endParaRPr lang="en-US" b="1" kern="0" dirty="0">
                  <a:solidFill>
                    <a:srgbClr val="000000"/>
                  </a:solidFill>
                  <a:latin typeface="Honeywell Sans" panose="02010503040101060203" pitchFamily="50" charset="0"/>
                  <a:cs typeface="Arial" pitchFamily="34" charset="0"/>
                </a:endParaRPr>
              </a:p>
            </p:txBody>
          </p:sp>
          <p:sp>
            <p:nvSpPr>
              <p:cNvPr id="383" name="Freeform 171"/>
              <p:cNvSpPr>
                <a:spLocks/>
              </p:cNvSpPr>
              <p:nvPr/>
            </p:nvSpPr>
            <p:spPr bwMode="auto">
              <a:xfrm>
                <a:off x="1046516" y="1101722"/>
                <a:ext cx="191387" cy="180948"/>
              </a:xfrm>
              <a:custGeom>
                <a:avLst/>
                <a:gdLst/>
                <a:ahLst/>
                <a:cxnLst>
                  <a:cxn ang="0">
                    <a:pos x="38" y="3"/>
                  </a:cxn>
                  <a:cxn ang="0">
                    <a:pos x="3" y="32"/>
                  </a:cxn>
                  <a:cxn ang="0">
                    <a:pos x="2" y="42"/>
                  </a:cxn>
                  <a:cxn ang="0">
                    <a:pos x="8" y="49"/>
                  </a:cxn>
                  <a:cxn ang="0">
                    <a:pos x="18" y="50"/>
                  </a:cxn>
                  <a:cxn ang="0">
                    <a:pos x="53" y="20"/>
                  </a:cxn>
                  <a:cxn ang="0">
                    <a:pos x="54" y="11"/>
                  </a:cxn>
                  <a:cxn ang="0">
                    <a:pos x="48" y="4"/>
                  </a:cxn>
                  <a:cxn ang="0">
                    <a:pos x="38" y="3"/>
                  </a:cxn>
                </a:cxnLst>
                <a:rect l="0" t="0" r="r" b="b"/>
                <a:pathLst>
                  <a:path w="56" h="52">
                    <a:moveTo>
                      <a:pt x="38" y="3"/>
                    </a:moveTo>
                    <a:cubicBezTo>
                      <a:pt x="3" y="32"/>
                      <a:pt x="3" y="32"/>
                      <a:pt x="3" y="32"/>
                    </a:cubicBezTo>
                    <a:cubicBezTo>
                      <a:pt x="0" y="35"/>
                      <a:pt x="0" y="39"/>
                      <a:pt x="2" y="42"/>
                    </a:cubicBezTo>
                    <a:cubicBezTo>
                      <a:pt x="8" y="49"/>
                      <a:pt x="8" y="49"/>
                      <a:pt x="8" y="49"/>
                    </a:cubicBezTo>
                    <a:cubicBezTo>
                      <a:pt x="11" y="52"/>
                      <a:pt x="15" y="52"/>
                      <a:pt x="18" y="50"/>
                    </a:cubicBezTo>
                    <a:cubicBezTo>
                      <a:pt x="53" y="20"/>
                      <a:pt x="53" y="20"/>
                      <a:pt x="53" y="20"/>
                    </a:cubicBezTo>
                    <a:cubicBezTo>
                      <a:pt x="56" y="18"/>
                      <a:pt x="56" y="13"/>
                      <a:pt x="54" y="11"/>
                    </a:cubicBezTo>
                    <a:cubicBezTo>
                      <a:pt x="48" y="4"/>
                      <a:pt x="48" y="4"/>
                      <a:pt x="48" y="4"/>
                    </a:cubicBezTo>
                    <a:cubicBezTo>
                      <a:pt x="45" y="1"/>
                      <a:pt x="41" y="0"/>
                      <a:pt x="38" y="3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GB" kern="0">
                  <a:solidFill>
                    <a:srgbClr val="000000"/>
                  </a:solidFill>
                  <a:latin typeface="Honeywell Sans" panose="02010503040101060203" pitchFamily="50" charset="0"/>
                  <a:cs typeface="Arial" pitchFamily="34" charset="0"/>
                </a:endParaRPr>
              </a:p>
            </p:txBody>
          </p:sp>
          <p:sp>
            <p:nvSpPr>
              <p:cNvPr id="384" name="Oval 383"/>
              <p:cNvSpPr/>
              <p:nvPr/>
            </p:nvSpPr>
            <p:spPr bwMode="auto">
              <a:xfrm>
                <a:off x="435592" y="1534587"/>
                <a:ext cx="219568" cy="219568"/>
              </a:xfrm>
              <a:prstGeom prst="ellipse">
                <a:avLst/>
              </a:pr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12699" cap="flat" cmpd="sng" algn="ctr">
                    <a:solidFill>
                      <a:schemeClr val="tx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none" lIns="90488" tIns="44450" rIns="90488" bIns="44450" numCol="1" rtlCol="0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defRPr/>
                </a:pPr>
                <a:endParaRPr lang="en-US" b="1" kern="0" dirty="0">
                  <a:solidFill>
                    <a:srgbClr val="000000"/>
                  </a:solidFill>
                  <a:latin typeface="Honeywell Sans" panose="02010503040101060203" pitchFamily="50" charset="0"/>
                  <a:cs typeface="Arial" pitchFamily="34" charset="0"/>
                </a:endParaRPr>
              </a:p>
            </p:txBody>
          </p:sp>
          <p:sp>
            <p:nvSpPr>
              <p:cNvPr id="385" name="Rounded Rectangle 384"/>
              <p:cNvSpPr/>
              <p:nvPr/>
            </p:nvSpPr>
            <p:spPr bwMode="auto">
              <a:xfrm rot="19284679">
                <a:off x="691639" y="1547151"/>
                <a:ext cx="195855" cy="154095"/>
              </a:xfrm>
              <a:prstGeom prst="roundRect">
                <a:avLst>
                  <a:gd name="adj" fmla="val 13224"/>
                </a:avLst>
              </a:pr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12699" cap="flat" cmpd="sng" algn="ctr">
                    <a:solidFill>
                      <a:schemeClr val="tx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none" lIns="90488" tIns="44450" rIns="90488" bIns="44450" numCol="1" rtlCol="0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defRPr/>
                </a:pPr>
                <a:endParaRPr lang="en-US" b="1" kern="0" dirty="0">
                  <a:solidFill>
                    <a:srgbClr val="000000"/>
                  </a:solidFill>
                  <a:latin typeface="Honeywell Sans" panose="02010503040101060203" pitchFamily="50" charset="0"/>
                  <a:cs typeface="Arial" pitchFamily="34" charset="0"/>
                </a:endParaRPr>
              </a:p>
            </p:txBody>
          </p:sp>
          <p:sp>
            <p:nvSpPr>
              <p:cNvPr id="386" name="Freeform 385"/>
              <p:cNvSpPr/>
              <p:nvPr/>
            </p:nvSpPr>
            <p:spPr bwMode="auto">
              <a:xfrm>
                <a:off x="589469" y="1445545"/>
                <a:ext cx="209795" cy="121103"/>
              </a:xfrm>
              <a:custGeom>
                <a:avLst/>
                <a:gdLst>
                  <a:gd name="connsiteX0" fmla="*/ 121444 w 750094"/>
                  <a:gd name="connsiteY0" fmla="*/ 414338 h 414338"/>
                  <a:gd name="connsiteX1" fmla="*/ 511969 w 750094"/>
                  <a:gd name="connsiteY1" fmla="*/ 145256 h 414338"/>
                  <a:gd name="connsiteX2" fmla="*/ 661987 w 750094"/>
                  <a:gd name="connsiteY2" fmla="*/ 321469 h 414338"/>
                  <a:gd name="connsiteX3" fmla="*/ 750094 w 750094"/>
                  <a:gd name="connsiteY3" fmla="*/ 252413 h 414338"/>
                  <a:gd name="connsiteX4" fmla="*/ 564356 w 750094"/>
                  <a:gd name="connsiteY4" fmla="*/ 23813 h 414338"/>
                  <a:gd name="connsiteX5" fmla="*/ 535781 w 750094"/>
                  <a:gd name="connsiteY5" fmla="*/ 0 h 414338"/>
                  <a:gd name="connsiteX6" fmla="*/ 490537 w 750094"/>
                  <a:gd name="connsiteY6" fmla="*/ 0 h 414338"/>
                  <a:gd name="connsiteX7" fmla="*/ 0 w 750094"/>
                  <a:gd name="connsiteY7" fmla="*/ 350044 h 414338"/>
                  <a:gd name="connsiteX8" fmla="*/ 121444 w 750094"/>
                  <a:gd name="connsiteY8" fmla="*/ 414338 h 414338"/>
                  <a:gd name="connsiteX0" fmla="*/ 121444 w 750094"/>
                  <a:gd name="connsiteY0" fmla="*/ 472679 h 472679"/>
                  <a:gd name="connsiteX1" fmla="*/ 511969 w 750094"/>
                  <a:gd name="connsiteY1" fmla="*/ 203597 h 472679"/>
                  <a:gd name="connsiteX2" fmla="*/ 661987 w 750094"/>
                  <a:gd name="connsiteY2" fmla="*/ 379810 h 472679"/>
                  <a:gd name="connsiteX3" fmla="*/ 750094 w 750094"/>
                  <a:gd name="connsiteY3" fmla="*/ 310754 h 472679"/>
                  <a:gd name="connsiteX4" fmla="*/ 564356 w 750094"/>
                  <a:gd name="connsiteY4" fmla="*/ 82154 h 472679"/>
                  <a:gd name="connsiteX5" fmla="*/ 535781 w 750094"/>
                  <a:gd name="connsiteY5" fmla="*/ 58341 h 472679"/>
                  <a:gd name="connsiteX6" fmla="*/ 490537 w 750094"/>
                  <a:gd name="connsiteY6" fmla="*/ 58341 h 472679"/>
                  <a:gd name="connsiteX7" fmla="*/ 0 w 750094"/>
                  <a:gd name="connsiteY7" fmla="*/ 408385 h 472679"/>
                  <a:gd name="connsiteX8" fmla="*/ 121444 w 750094"/>
                  <a:gd name="connsiteY8" fmla="*/ 472679 h 472679"/>
                  <a:gd name="connsiteX0" fmla="*/ 121444 w 750094"/>
                  <a:gd name="connsiteY0" fmla="*/ 432594 h 432594"/>
                  <a:gd name="connsiteX1" fmla="*/ 511969 w 750094"/>
                  <a:gd name="connsiteY1" fmla="*/ 163512 h 432594"/>
                  <a:gd name="connsiteX2" fmla="*/ 661987 w 750094"/>
                  <a:gd name="connsiteY2" fmla="*/ 339725 h 432594"/>
                  <a:gd name="connsiteX3" fmla="*/ 750094 w 750094"/>
                  <a:gd name="connsiteY3" fmla="*/ 270669 h 432594"/>
                  <a:gd name="connsiteX4" fmla="*/ 564356 w 750094"/>
                  <a:gd name="connsiteY4" fmla="*/ 42069 h 432594"/>
                  <a:gd name="connsiteX5" fmla="*/ 535781 w 750094"/>
                  <a:gd name="connsiteY5" fmla="*/ 18256 h 432594"/>
                  <a:gd name="connsiteX6" fmla="*/ 490537 w 750094"/>
                  <a:gd name="connsiteY6" fmla="*/ 18256 h 432594"/>
                  <a:gd name="connsiteX7" fmla="*/ 0 w 750094"/>
                  <a:gd name="connsiteY7" fmla="*/ 368300 h 432594"/>
                  <a:gd name="connsiteX8" fmla="*/ 121444 w 750094"/>
                  <a:gd name="connsiteY8" fmla="*/ 432594 h 432594"/>
                  <a:gd name="connsiteX0" fmla="*/ 121444 w 750094"/>
                  <a:gd name="connsiteY0" fmla="*/ 468710 h 468710"/>
                  <a:gd name="connsiteX1" fmla="*/ 511969 w 750094"/>
                  <a:gd name="connsiteY1" fmla="*/ 199628 h 468710"/>
                  <a:gd name="connsiteX2" fmla="*/ 661987 w 750094"/>
                  <a:gd name="connsiteY2" fmla="*/ 375841 h 468710"/>
                  <a:gd name="connsiteX3" fmla="*/ 750094 w 750094"/>
                  <a:gd name="connsiteY3" fmla="*/ 306785 h 468710"/>
                  <a:gd name="connsiteX4" fmla="*/ 564356 w 750094"/>
                  <a:gd name="connsiteY4" fmla="*/ 78185 h 468710"/>
                  <a:gd name="connsiteX5" fmla="*/ 490537 w 750094"/>
                  <a:gd name="connsiteY5" fmla="*/ 54372 h 468710"/>
                  <a:gd name="connsiteX6" fmla="*/ 0 w 750094"/>
                  <a:gd name="connsiteY6" fmla="*/ 404416 h 468710"/>
                  <a:gd name="connsiteX7" fmla="*/ 121444 w 750094"/>
                  <a:gd name="connsiteY7" fmla="*/ 468710 h 468710"/>
                  <a:gd name="connsiteX0" fmla="*/ 121444 w 750094"/>
                  <a:gd name="connsiteY0" fmla="*/ 432991 h 432991"/>
                  <a:gd name="connsiteX1" fmla="*/ 511969 w 750094"/>
                  <a:gd name="connsiteY1" fmla="*/ 163909 h 432991"/>
                  <a:gd name="connsiteX2" fmla="*/ 661987 w 750094"/>
                  <a:gd name="connsiteY2" fmla="*/ 340122 h 432991"/>
                  <a:gd name="connsiteX3" fmla="*/ 750094 w 750094"/>
                  <a:gd name="connsiteY3" fmla="*/ 271066 h 432991"/>
                  <a:gd name="connsiteX4" fmla="*/ 564356 w 750094"/>
                  <a:gd name="connsiteY4" fmla="*/ 42466 h 432991"/>
                  <a:gd name="connsiteX5" fmla="*/ 490537 w 750094"/>
                  <a:gd name="connsiteY5" fmla="*/ 18653 h 432991"/>
                  <a:gd name="connsiteX6" fmla="*/ 0 w 750094"/>
                  <a:gd name="connsiteY6" fmla="*/ 368697 h 432991"/>
                  <a:gd name="connsiteX7" fmla="*/ 121444 w 750094"/>
                  <a:gd name="connsiteY7" fmla="*/ 432991 h 432991"/>
                  <a:gd name="connsiteX0" fmla="*/ 121444 w 750094"/>
                  <a:gd name="connsiteY0" fmla="*/ 432991 h 432991"/>
                  <a:gd name="connsiteX1" fmla="*/ 511969 w 750094"/>
                  <a:gd name="connsiteY1" fmla="*/ 163909 h 432991"/>
                  <a:gd name="connsiteX2" fmla="*/ 661987 w 750094"/>
                  <a:gd name="connsiteY2" fmla="*/ 340122 h 432991"/>
                  <a:gd name="connsiteX3" fmla="*/ 750094 w 750094"/>
                  <a:gd name="connsiteY3" fmla="*/ 271066 h 432991"/>
                  <a:gd name="connsiteX4" fmla="*/ 564356 w 750094"/>
                  <a:gd name="connsiteY4" fmla="*/ 42466 h 432991"/>
                  <a:gd name="connsiteX5" fmla="*/ 490537 w 750094"/>
                  <a:gd name="connsiteY5" fmla="*/ 18653 h 432991"/>
                  <a:gd name="connsiteX6" fmla="*/ 0 w 750094"/>
                  <a:gd name="connsiteY6" fmla="*/ 368697 h 432991"/>
                  <a:gd name="connsiteX7" fmla="*/ 121444 w 750094"/>
                  <a:gd name="connsiteY7" fmla="*/ 432991 h 4329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50094" h="432991">
                    <a:moveTo>
                      <a:pt x="121444" y="432991"/>
                    </a:moveTo>
                    <a:lnTo>
                      <a:pt x="511969" y="163909"/>
                    </a:lnTo>
                    <a:lnTo>
                      <a:pt x="661987" y="340122"/>
                    </a:lnTo>
                    <a:lnTo>
                      <a:pt x="750094" y="271066"/>
                    </a:lnTo>
                    <a:lnTo>
                      <a:pt x="564356" y="42466"/>
                    </a:lnTo>
                    <a:cubicBezTo>
                      <a:pt x="540147" y="19447"/>
                      <a:pt x="520303" y="0"/>
                      <a:pt x="490537" y="18653"/>
                    </a:cubicBezTo>
                    <a:lnTo>
                      <a:pt x="0" y="368697"/>
                    </a:lnTo>
                    <a:lnTo>
                      <a:pt x="121444" y="432991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12699" cap="flat" cmpd="sng" algn="ctr">
                    <a:solidFill>
                      <a:schemeClr val="tx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none" lIns="90488" tIns="44450" rIns="90488" bIns="44450" numCol="1" rtlCol="0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defRPr/>
                </a:pPr>
                <a:endParaRPr lang="en-US" b="1" kern="0" dirty="0">
                  <a:solidFill>
                    <a:srgbClr val="000000"/>
                  </a:solidFill>
                  <a:latin typeface="Honeywell Sans" panose="02010503040101060203" pitchFamily="50" charset="0"/>
                  <a:cs typeface="Arial" pitchFamily="34" charset="0"/>
                </a:endParaRPr>
              </a:p>
            </p:txBody>
          </p:sp>
          <p:sp>
            <p:nvSpPr>
              <p:cNvPr id="387" name="Freeform 386"/>
              <p:cNvSpPr/>
              <p:nvPr/>
            </p:nvSpPr>
            <p:spPr bwMode="auto">
              <a:xfrm>
                <a:off x="656068" y="1525356"/>
                <a:ext cx="120550" cy="31301"/>
              </a:xfrm>
              <a:custGeom>
                <a:avLst/>
                <a:gdLst>
                  <a:gd name="connsiteX0" fmla="*/ 0 w 431006"/>
                  <a:gd name="connsiteY0" fmla="*/ 66675 h 111919"/>
                  <a:gd name="connsiteX1" fmla="*/ 347662 w 431006"/>
                  <a:gd name="connsiteY1" fmla="*/ 111919 h 111919"/>
                  <a:gd name="connsiteX2" fmla="*/ 431006 w 431006"/>
                  <a:gd name="connsiteY2" fmla="*/ 45244 h 111919"/>
                  <a:gd name="connsiteX3" fmla="*/ 71437 w 431006"/>
                  <a:gd name="connsiteY3" fmla="*/ 0 h 111919"/>
                  <a:gd name="connsiteX4" fmla="*/ 0 w 431006"/>
                  <a:gd name="connsiteY4" fmla="*/ 66675 h 1119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31006" h="111919">
                    <a:moveTo>
                      <a:pt x="0" y="66675"/>
                    </a:moveTo>
                    <a:lnTo>
                      <a:pt x="347662" y="111919"/>
                    </a:lnTo>
                    <a:lnTo>
                      <a:pt x="431006" y="45244"/>
                    </a:lnTo>
                    <a:lnTo>
                      <a:pt x="71437" y="0"/>
                    </a:lnTo>
                    <a:lnTo>
                      <a:pt x="0" y="66675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12699" cap="flat" cmpd="sng" algn="ctr">
                    <a:solidFill>
                      <a:schemeClr val="tx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none" lIns="90488" tIns="44450" rIns="90488" bIns="44450" numCol="1" rtlCol="0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defRPr/>
                </a:pPr>
                <a:endParaRPr lang="en-US" b="1" kern="0" dirty="0">
                  <a:solidFill>
                    <a:srgbClr val="000000"/>
                  </a:solidFill>
                  <a:latin typeface="Honeywell Sans" panose="02010503040101060203" pitchFamily="50" charset="0"/>
                  <a:cs typeface="Arial" pitchFamily="34" charset="0"/>
                </a:endParaRPr>
              </a:p>
            </p:txBody>
          </p:sp>
          <p:sp>
            <p:nvSpPr>
              <p:cNvPr id="388" name="Freeform 387"/>
              <p:cNvSpPr/>
              <p:nvPr/>
            </p:nvSpPr>
            <p:spPr bwMode="auto">
              <a:xfrm>
                <a:off x="960439" y="1318448"/>
                <a:ext cx="232664" cy="737058"/>
              </a:xfrm>
              <a:custGeom>
                <a:avLst/>
                <a:gdLst>
                  <a:gd name="connsiteX0" fmla="*/ 0 w 806450"/>
                  <a:gd name="connsiteY0" fmla="*/ 2616200 h 2641600"/>
                  <a:gd name="connsiteX1" fmla="*/ 476250 w 806450"/>
                  <a:gd name="connsiteY1" fmla="*/ 254000 h 2641600"/>
                  <a:gd name="connsiteX2" fmla="*/ 806450 w 806450"/>
                  <a:gd name="connsiteY2" fmla="*/ 0 h 2641600"/>
                  <a:gd name="connsiteX3" fmla="*/ 304800 w 806450"/>
                  <a:gd name="connsiteY3" fmla="*/ 2641600 h 2641600"/>
                  <a:gd name="connsiteX4" fmla="*/ 0 w 806450"/>
                  <a:gd name="connsiteY4" fmla="*/ 2616200 h 2641600"/>
                  <a:gd name="connsiteX0" fmla="*/ 0 w 831850"/>
                  <a:gd name="connsiteY0" fmla="*/ 2609850 h 2635250"/>
                  <a:gd name="connsiteX1" fmla="*/ 476250 w 831850"/>
                  <a:gd name="connsiteY1" fmla="*/ 247650 h 2635250"/>
                  <a:gd name="connsiteX2" fmla="*/ 831850 w 831850"/>
                  <a:gd name="connsiteY2" fmla="*/ 0 h 2635250"/>
                  <a:gd name="connsiteX3" fmla="*/ 304800 w 831850"/>
                  <a:gd name="connsiteY3" fmla="*/ 2635250 h 2635250"/>
                  <a:gd name="connsiteX4" fmla="*/ 0 w 831850"/>
                  <a:gd name="connsiteY4" fmla="*/ 2609850 h 2635250"/>
                  <a:gd name="connsiteX0" fmla="*/ 0 w 831850"/>
                  <a:gd name="connsiteY0" fmla="*/ 2630676 h 2635250"/>
                  <a:gd name="connsiteX1" fmla="*/ 476250 w 831850"/>
                  <a:gd name="connsiteY1" fmla="*/ 247650 h 2635250"/>
                  <a:gd name="connsiteX2" fmla="*/ 831850 w 831850"/>
                  <a:gd name="connsiteY2" fmla="*/ 0 h 2635250"/>
                  <a:gd name="connsiteX3" fmla="*/ 304800 w 831850"/>
                  <a:gd name="connsiteY3" fmla="*/ 2635250 h 2635250"/>
                  <a:gd name="connsiteX4" fmla="*/ 0 w 831850"/>
                  <a:gd name="connsiteY4" fmla="*/ 2630676 h 2635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31850" h="2635250">
                    <a:moveTo>
                      <a:pt x="0" y="2630676"/>
                    </a:moveTo>
                    <a:lnTo>
                      <a:pt x="476250" y="247650"/>
                    </a:lnTo>
                    <a:lnTo>
                      <a:pt x="831850" y="0"/>
                    </a:lnTo>
                    <a:lnTo>
                      <a:pt x="304800" y="2635250"/>
                    </a:lnTo>
                    <a:lnTo>
                      <a:pt x="0" y="2630676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12699" cap="flat" cmpd="sng" algn="ctr">
                    <a:solidFill>
                      <a:schemeClr val="tx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none" lIns="90488" tIns="44450" rIns="90488" bIns="44450" numCol="1" rtlCol="0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defRPr/>
                </a:pPr>
                <a:endParaRPr lang="en-US" b="1" kern="0" dirty="0">
                  <a:solidFill>
                    <a:srgbClr val="000000"/>
                  </a:solidFill>
                  <a:latin typeface="Honeywell Sans" panose="02010503040101060203" pitchFamily="50" charset="0"/>
                  <a:cs typeface="Arial" pitchFamily="34" charset="0"/>
                </a:endParaRPr>
              </a:p>
            </p:txBody>
          </p:sp>
          <p:sp>
            <p:nvSpPr>
              <p:cNvPr id="389" name="Freeform 388"/>
              <p:cNvSpPr/>
              <p:nvPr/>
            </p:nvSpPr>
            <p:spPr bwMode="auto">
              <a:xfrm flipH="1">
                <a:off x="1226847" y="1252732"/>
                <a:ext cx="332285" cy="802773"/>
              </a:xfrm>
              <a:custGeom>
                <a:avLst/>
                <a:gdLst>
                  <a:gd name="connsiteX0" fmla="*/ 0 w 806450"/>
                  <a:gd name="connsiteY0" fmla="*/ 2616200 h 2641600"/>
                  <a:gd name="connsiteX1" fmla="*/ 476250 w 806450"/>
                  <a:gd name="connsiteY1" fmla="*/ 254000 h 2641600"/>
                  <a:gd name="connsiteX2" fmla="*/ 806450 w 806450"/>
                  <a:gd name="connsiteY2" fmla="*/ 0 h 2641600"/>
                  <a:gd name="connsiteX3" fmla="*/ 304800 w 806450"/>
                  <a:gd name="connsiteY3" fmla="*/ 2641600 h 2641600"/>
                  <a:gd name="connsiteX4" fmla="*/ 0 w 806450"/>
                  <a:gd name="connsiteY4" fmla="*/ 2616200 h 2641600"/>
                  <a:gd name="connsiteX0" fmla="*/ 0 w 831850"/>
                  <a:gd name="connsiteY0" fmla="*/ 2609850 h 2635250"/>
                  <a:gd name="connsiteX1" fmla="*/ 476250 w 831850"/>
                  <a:gd name="connsiteY1" fmla="*/ 247650 h 2635250"/>
                  <a:gd name="connsiteX2" fmla="*/ 831850 w 831850"/>
                  <a:gd name="connsiteY2" fmla="*/ 0 h 2635250"/>
                  <a:gd name="connsiteX3" fmla="*/ 304800 w 831850"/>
                  <a:gd name="connsiteY3" fmla="*/ 2635250 h 2635250"/>
                  <a:gd name="connsiteX4" fmla="*/ 0 w 831850"/>
                  <a:gd name="connsiteY4" fmla="*/ 2609850 h 2635250"/>
                  <a:gd name="connsiteX0" fmla="*/ 0 w 1181100"/>
                  <a:gd name="connsiteY0" fmla="*/ 2724150 h 2749550"/>
                  <a:gd name="connsiteX1" fmla="*/ 476250 w 1181100"/>
                  <a:gd name="connsiteY1" fmla="*/ 361950 h 2749550"/>
                  <a:gd name="connsiteX2" fmla="*/ 1181100 w 1181100"/>
                  <a:gd name="connsiteY2" fmla="*/ 0 h 2749550"/>
                  <a:gd name="connsiteX3" fmla="*/ 304800 w 1181100"/>
                  <a:gd name="connsiteY3" fmla="*/ 2749550 h 2749550"/>
                  <a:gd name="connsiteX4" fmla="*/ 0 w 1181100"/>
                  <a:gd name="connsiteY4" fmla="*/ 2724150 h 2749550"/>
                  <a:gd name="connsiteX0" fmla="*/ 0 w 1181100"/>
                  <a:gd name="connsiteY0" fmla="*/ 2844800 h 2870200"/>
                  <a:gd name="connsiteX1" fmla="*/ 901700 w 1181100"/>
                  <a:gd name="connsiteY1" fmla="*/ 0 h 2870200"/>
                  <a:gd name="connsiteX2" fmla="*/ 1181100 w 1181100"/>
                  <a:gd name="connsiteY2" fmla="*/ 120650 h 2870200"/>
                  <a:gd name="connsiteX3" fmla="*/ 304800 w 1181100"/>
                  <a:gd name="connsiteY3" fmla="*/ 2870200 h 2870200"/>
                  <a:gd name="connsiteX4" fmla="*/ 0 w 1181100"/>
                  <a:gd name="connsiteY4" fmla="*/ 2844800 h 2870200"/>
                  <a:gd name="connsiteX0" fmla="*/ 0 w 1188041"/>
                  <a:gd name="connsiteY0" fmla="*/ 2865626 h 2870200"/>
                  <a:gd name="connsiteX1" fmla="*/ 908641 w 1188041"/>
                  <a:gd name="connsiteY1" fmla="*/ 0 h 2870200"/>
                  <a:gd name="connsiteX2" fmla="*/ 1188041 w 1188041"/>
                  <a:gd name="connsiteY2" fmla="*/ 120650 h 2870200"/>
                  <a:gd name="connsiteX3" fmla="*/ 311741 w 1188041"/>
                  <a:gd name="connsiteY3" fmla="*/ 2870200 h 2870200"/>
                  <a:gd name="connsiteX4" fmla="*/ 0 w 1188041"/>
                  <a:gd name="connsiteY4" fmla="*/ 2865626 h 2870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88041" h="2870200">
                    <a:moveTo>
                      <a:pt x="0" y="2865626"/>
                    </a:moveTo>
                    <a:lnTo>
                      <a:pt x="908641" y="0"/>
                    </a:lnTo>
                    <a:lnTo>
                      <a:pt x="1188041" y="120650"/>
                    </a:lnTo>
                    <a:lnTo>
                      <a:pt x="311741" y="2870200"/>
                    </a:lnTo>
                    <a:lnTo>
                      <a:pt x="0" y="2865626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12699" cap="flat" cmpd="sng" algn="ctr">
                    <a:solidFill>
                      <a:schemeClr val="tx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none" lIns="90488" tIns="44450" rIns="90488" bIns="44450" numCol="1" rtlCol="0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defRPr/>
                </a:pPr>
                <a:endParaRPr lang="en-US" b="1" kern="0" dirty="0">
                  <a:solidFill>
                    <a:srgbClr val="000000"/>
                  </a:solidFill>
                  <a:latin typeface="Honeywell Sans" panose="02010503040101060203" pitchFamily="50" charset="0"/>
                  <a:cs typeface="Arial" pitchFamily="34" charset="0"/>
                </a:endParaRPr>
              </a:p>
            </p:txBody>
          </p:sp>
          <p:sp>
            <p:nvSpPr>
              <p:cNvPr id="390" name="Rectangle 389"/>
              <p:cNvSpPr/>
              <p:nvPr/>
            </p:nvSpPr>
            <p:spPr bwMode="auto">
              <a:xfrm>
                <a:off x="1104299" y="1620375"/>
                <a:ext cx="259302" cy="60385"/>
              </a:xfrm>
              <a:prstGeom prst="rect">
                <a:avLst/>
              </a:pr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12699" cap="flat" cmpd="sng" algn="ctr">
                    <a:solidFill>
                      <a:schemeClr val="tx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none" lIns="90488" tIns="44450" rIns="90488" bIns="44450" numCol="1" rtlCol="0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defRPr/>
                </a:pPr>
                <a:endParaRPr lang="en-US" b="1" kern="0" dirty="0">
                  <a:solidFill>
                    <a:srgbClr val="000000"/>
                  </a:solidFill>
                  <a:latin typeface="Honeywell Sans" panose="02010503040101060203" pitchFamily="50" charset="0"/>
                  <a:cs typeface="Arial" pitchFamily="34" charset="0"/>
                </a:endParaRPr>
              </a:p>
            </p:txBody>
          </p:sp>
          <p:sp>
            <p:nvSpPr>
              <p:cNvPr id="391" name="Rectangle 390"/>
              <p:cNvSpPr/>
              <p:nvPr/>
            </p:nvSpPr>
            <p:spPr bwMode="auto">
              <a:xfrm>
                <a:off x="1067002" y="1870797"/>
                <a:ext cx="380074" cy="60385"/>
              </a:xfrm>
              <a:prstGeom prst="rect">
                <a:avLst/>
              </a:pr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12699" cap="flat" cmpd="sng" algn="ctr">
                    <a:solidFill>
                      <a:schemeClr val="tx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none" lIns="90488" tIns="44450" rIns="90488" bIns="44450" numCol="1" rtlCol="0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defRPr/>
                </a:pPr>
                <a:endParaRPr lang="en-US" b="1" kern="0" dirty="0">
                  <a:solidFill>
                    <a:srgbClr val="000000"/>
                  </a:solidFill>
                  <a:latin typeface="Honeywell Sans" panose="02010503040101060203" pitchFamily="50" charset="0"/>
                  <a:cs typeface="Arial" pitchFamily="34" charset="0"/>
                </a:endParaRPr>
              </a:p>
            </p:txBody>
          </p:sp>
          <p:sp>
            <p:nvSpPr>
              <p:cNvPr id="392" name="Freeform 391"/>
              <p:cNvSpPr/>
              <p:nvPr/>
            </p:nvSpPr>
            <p:spPr bwMode="auto">
              <a:xfrm>
                <a:off x="1073663" y="1668550"/>
                <a:ext cx="292381" cy="215123"/>
              </a:xfrm>
              <a:custGeom>
                <a:avLst/>
                <a:gdLst>
                  <a:gd name="connsiteX0" fmla="*/ 7143 w 1045368"/>
                  <a:gd name="connsiteY0" fmla="*/ 673894 h 769144"/>
                  <a:gd name="connsiteX1" fmla="*/ 1021556 w 1045368"/>
                  <a:gd name="connsiteY1" fmla="*/ 0 h 769144"/>
                  <a:gd name="connsiteX2" fmla="*/ 1045368 w 1045368"/>
                  <a:gd name="connsiteY2" fmla="*/ 126206 h 769144"/>
                  <a:gd name="connsiteX3" fmla="*/ 57150 w 1045368"/>
                  <a:gd name="connsiteY3" fmla="*/ 769144 h 769144"/>
                  <a:gd name="connsiteX4" fmla="*/ 0 w 1045368"/>
                  <a:gd name="connsiteY4" fmla="*/ 738187 h 769144"/>
                  <a:gd name="connsiteX5" fmla="*/ 7143 w 1045368"/>
                  <a:gd name="connsiteY5" fmla="*/ 673894 h 769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045368" h="769144">
                    <a:moveTo>
                      <a:pt x="7143" y="673894"/>
                    </a:moveTo>
                    <a:lnTo>
                      <a:pt x="1021556" y="0"/>
                    </a:lnTo>
                    <a:lnTo>
                      <a:pt x="1045368" y="126206"/>
                    </a:lnTo>
                    <a:lnTo>
                      <a:pt x="57150" y="769144"/>
                    </a:lnTo>
                    <a:lnTo>
                      <a:pt x="0" y="738187"/>
                    </a:lnTo>
                    <a:lnTo>
                      <a:pt x="7143" y="673894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12699" cap="flat" cmpd="sng" algn="ctr">
                    <a:solidFill>
                      <a:schemeClr val="tx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none" lIns="90488" tIns="44450" rIns="90488" bIns="44450" numCol="1" rtlCol="0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defRPr/>
                </a:pPr>
                <a:endParaRPr lang="en-US" b="1" kern="0" dirty="0">
                  <a:solidFill>
                    <a:srgbClr val="000000"/>
                  </a:solidFill>
                  <a:latin typeface="Honeywell Sans" panose="02010503040101060203" pitchFamily="50" charset="0"/>
                  <a:cs typeface="Arial" pitchFamily="34" charset="0"/>
                </a:endParaRPr>
              </a:p>
            </p:txBody>
          </p:sp>
          <p:sp>
            <p:nvSpPr>
              <p:cNvPr id="393" name="Freeform 392"/>
              <p:cNvSpPr/>
              <p:nvPr/>
            </p:nvSpPr>
            <p:spPr bwMode="auto">
              <a:xfrm>
                <a:off x="1100969" y="1670547"/>
                <a:ext cx="321686" cy="209131"/>
              </a:xfrm>
              <a:custGeom>
                <a:avLst/>
                <a:gdLst>
                  <a:gd name="connsiteX0" fmla="*/ 0 w 1150144"/>
                  <a:gd name="connsiteY0" fmla="*/ 88106 h 747712"/>
                  <a:gd name="connsiteX1" fmla="*/ 0 w 1150144"/>
                  <a:gd name="connsiteY1" fmla="*/ 88106 h 747712"/>
                  <a:gd name="connsiteX2" fmla="*/ 1135856 w 1150144"/>
                  <a:gd name="connsiteY2" fmla="*/ 747712 h 747712"/>
                  <a:gd name="connsiteX3" fmla="*/ 1150144 w 1150144"/>
                  <a:gd name="connsiteY3" fmla="*/ 621506 h 747712"/>
                  <a:gd name="connsiteX4" fmla="*/ 38100 w 1150144"/>
                  <a:gd name="connsiteY4" fmla="*/ 0 h 747712"/>
                  <a:gd name="connsiteX5" fmla="*/ 0 w 1150144"/>
                  <a:gd name="connsiteY5" fmla="*/ 88106 h 7477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50144" h="747712">
                    <a:moveTo>
                      <a:pt x="0" y="88106"/>
                    </a:moveTo>
                    <a:lnTo>
                      <a:pt x="0" y="88106"/>
                    </a:lnTo>
                    <a:lnTo>
                      <a:pt x="1135856" y="747712"/>
                    </a:lnTo>
                    <a:lnTo>
                      <a:pt x="1150144" y="621506"/>
                    </a:lnTo>
                    <a:lnTo>
                      <a:pt x="38100" y="0"/>
                    </a:lnTo>
                    <a:lnTo>
                      <a:pt x="0" y="88106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12699" cap="flat" cmpd="sng" algn="ctr">
                    <a:solidFill>
                      <a:schemeClr val="tx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none" lIns="90488" tIns="44450" rIns="90488" bIns="44450" numCol="1" rtlCol="0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defRPr/>
                </a:pPr>
                <a:endParaRPr lang="en-US" b="1" kern="0" dirty="0">
                  <a:solidFill>
                    <a:srgbClr val="000000"/>
                  </a:solidFill>
                  <a:latin typeface="Honeywell Sans" panose="02010503040101060203" pitchFamily="50" charset="0"/>
                  <a:cs typeface="Arial" pitchFamily="34" charset="0"/>
                </a:endParaRPr>
              </a:p>
            </p:txBody>
          </p:sp>
          <p:sp>
            <p:nvSpPr>
              <p:cNvPr id="394" name="Freeform 393"/>
              <p:cNvSpPr/>
              <p:nvPr/>
            </p:nvSpPr>
            <p:spPr bwMode="auto">
              <a:xfrm>
                <a:off x="846415" y="1023457"/>
                <a:ext cx="673900" cy="574897"/>
              </a:xfrm>
              <a:custGeom>
                <a:avLst/>
                <a:gdLst>
                  <a:gd name="connsiteX0" fmla="*/ 182880 w 2377440"/>
                  <a:gd name="connsiteY0" fmla="*/ 2042160 h 2042160"/>
                  <a:gd name="connsiteX1" fmla="*/ 2377440 w 2377440"/>
                  <a:gd name="connsiteY1" fmla="*/ 220980 h 2042160"/>
                  <a:gd name="connsiteX2" fmla="*/ 2179320 w 2377440"/>
                  <a:gd name="connsiteY2" fmla="*/ 0 h 2042160"/>
                  <a:gd name="connsiteX3" fmla="*/ 0 w 2377440"/>
                  <a:gd name="connsiteY3" fmla="*/ 1821180 h 2042160"/>
                  <a:gd name="connsiteX4" fmla="*/ 182880 w 2377440"/>
                  <a:gd name="connsiteY4" fmla="*/ 2042160 h 20421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377440" h="2042160">
                    <a:moveTo>
                      <a:pt x="182880" y="2042160"/>
                    </a:moveTo>
                    <a:lnTo>
                      <a:pt x="2377440" y="220980"/>
                    </a:lnTo>
                    <a:lnTo>
                      <a:pt x="2179320" y="0"/>
                    </a:lnTo>
                    <a:lnTo>
                      <a:pt x="0" y="1821180"/>
                    </a:lnTo>
                    <a:lnTo>
                      <a:pt x="182880" y="2042160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12699" cap="flat" cmpd="sng" algn="ctr">
                    <a:solidFill>
                      <a:schemeClr val="tx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none" lIns="90488" tIns="44450" rIns="90488" bIns="44450" numCol="1" rtlCol="0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defRPr/>
                </a:pPr>
                <a:endParaRPr lang="en-US" b="1" kern="0" dirty="0">
                  <a:solidFill>
                    <a:srgbClr val="000000"/>
                  </a:solidFill>
                  <a:latin typeface="Honeywell Sans" panose="02010503040101060203" pitchFamily="50" charset="0"/>
                  <a:cs typeface="Arial" pitchFamily="34" charset="0"/>
                </a:endParaRPr>
              </a:p>
            </p:txBody>
          </p:sp>
          <p:sp>
            <p:nvSpPr>
              <p:cNvPr id="395" name="Freeform 394"/>
              <p:cNvSpPr/>
              <p:nvPr/>
            </p:nvSpPr>
            <p:spPr bwMode="auto">
              <a:xfrm>
                <a:off x="1397976" y="690097"/>
                <a:ext cx="535033" cy="614142"/>
              </a:xfrm>
              <a:custGeom>
                <a:avLst/>
                <a:gdLst>
                  <a:gd name="connsiteX0" fmla="*/ 349250 w 1885950"/>
                  <a:gd name="connsiteY0" fmla="*/ 977900 h 2159000"/>
                  <a:gd name="connsiteX1" fmla="*/ 82550 w 1885950"/>
                  <a:gd name="connsiteY1" fmla="*/ 387350 h 2159000"/>
                  <a:gd name="connsiteX2" fmla="*/ 0 w 1885950"/>
                  <a:gd name="connsiteY2" fmla="*/ 241300 h 2159000"/>
                  <a:gd name="connsiteX3" fmla="*/ 50800 w 1885950"/>
                  <a:gd name="connsiteY3" fmla="*/ 171450 h 2159000"/>
                  <a:gd name="connsiteX4" fmla="*/ 190500 w 1885950"/>
                  <a:gd name="connsiteY4" fmla="*/ 44450 h 2159000"/>
                  <a:gd name="connsiteX5" fmla="*/ 241300 w 1885950"/>
                  <a:gd name="connsiteY5" fmla="*/ 0 h 2159000"/>
                  <a:gd name="connsiteX6" fmla="*/ 406400 w 1885950"/>
                  <a:gd name="connsiteY6" fmla="*/ 69850 h 2159000"/>
                  <a:gd name="connsiteX7" fmla="*/ 838200 w 1885950"/>
                  <a:gd name="connsiteY7" fmla="*/ 387350 h 2159000"/>
                  <a:gd name="connsiteX8" fmla="*/ 1155700 w 1885950"/>
                  <a:gd name="connsiteY8" fmla="*/ 615950 h 2159000"/>
                  <a:gd name="connsiteX9" fmla="*/ 1390650 w 1885950"/>
                  <a:gd name="connsiteY9" fmla="*/ 1047750 h 2159000"/>
                  <a:gd name="connsiteX10" fmla="*/ 1784350 w 1885950"/>
                  <a:gd name="connsiteY10" fmla="*/ 1816100 h 2159000"/>
                  <a:gd name="connsiteX11" fmla="*/ 1885950 w 1885950"/>
                  <a:gd name="connsiteY11" fmla="*/ 2032000 h 2159000"/>
                  <a:gd name="connsiteX12" fmla="*/ 1841500 w 1885950"/>
                  <a:gd name="connsiteY12" fmla="*/ 2095500 h 2159000"/>
                  <a:gd name="connsiteX13" fmla="*/ 1739900 w 1885950"/>
                  <a:gd name="connsiteY13" fmla="*/ 2159000 h 2159000"/>
                  <a:gd name="connsiteX14" fmla="*/ 1384300 w 1885950"/>
                  <a:gd name="connsiteY14" fmla="*/ 1936750 h 2159000"/>
                  <a:gd name="connsiteX15" fmla="*/ 869950 w 1885950"/>
                  <a:gd name="connsiteY15" fmla="*/ 1530350 h 2159000"/>
                  <a:gd name="connsiteX16" fmla="*/ 628650 w 1885950"/>
                  <a:gd name="connsiteY16" fmla="*/ 1339850 h 2159000"/>
                  <a:gd name="connsiteX17" fmla="*/ 514350 w 1885950"/>
                  <a:gd name="connsiteY17" fmla="*/ 1435100 h 2159000"/>
                  <a:gd name="connsiteX18" fmla="*/ 463550 w 1885950"/>
                  <a:gd name="connsiteY18" fmla="*/ 1466850 h 2159000"/>
                  <a:gd name="connsiteX19" fmla="*/ 400050 w 1885950"/>
                  <a:gd name="connsiteY19" fmla="*/ 1422400 h 2159000"/>
                  <a:gd name="connsiteX20" fmla="*/ 254000 w 1885950"/>
                  <a:gd name="connsiteY20" fmla="*/ 1250950 h 2159000"/>
                  <a:gd name="connsiteX21" fmla="*/ 196850 w 1885950"/>
                  <a:gd name="connsiteY21" fmla="*/ 1149350 h 2159000"/>
                  <a:gd name="connsiteX22" fmla="*/ 254000 w 1885950"/>
                  <a:gd name="connsiteY22" fmla="*/ 1073150 h 2159000"/>
                  <a:gd name="connsiteX23" fmla="*/ 349250 w 1885950"/>
                  <a:gd name="connsiteY23" fmla="*/ 977900 h 2159000"/>
                  <a:gd name="connsiteX0" fmla="*/ 349250 w 1885950"/>
                  <a:gd name="connsiteY0" fmla="*/ 977900 h 2159000"/>
                  <a:gd name="connsiteX1" fmla="*/ 82550 w 1885950"/>
                  <a:gd name="connsiteY1" fmla="*/ 387350 h 2159000"/>
                  <a:gd name="connsiteX2" fmla="*/ 0 w 1885950"/>
                  <a:gd name="connsiteY2" fmla="*/ 241300 h 2159000"/>
                  <a:gd name="connsiteX3" fmla="*/ 50800 w 1885950"/>
                  <a:gd name="connsiteY3" fmla="*/ 171450 h 2159000"/>
                  <a:gd name="connsiteX4" fmla="*/ 190500 w 1885950"/>
                  <a:gd name="connsiteY4" fmla="*/ 44450 h 2159000"/>
                  <a:gd name="connsiteX5" fmla="*/ 241300 w 1885950"/>
                  <a:gd name="connsiteY5" fmla="*/ 0 h 2159000"/>
                  <a:gd name="connsiteX6" fmla="*/ 406400 w 1885950"/>
                  <a:gd name="connsiteY6" fmla="*/ 69850 h 2159000"/>
                  <a:gd name="connsiteX7" fmla="*/ 838200 w 1885950"/>
                  <a:gd name="connsiteY7" fmla="*/ 387350 h 2159000"/>
                  <a:gd name="connsiteX8" fmla="*/ 1155700 w 1885950"/>
                  <a:gd name="connsiteY8" fmla="*/ 615950 h 2159000"/>
                  <a:gd name="connsiteX9" fmla="*/ 1390650 w 1885950"/>
                  <a:gd name="connsiteY9" fmla="*/ 1047750 h 2159000"/>
                  <a:gd name="connsiteX10" fmla="*/ 1784350 w 1885950"/>
                  <a:gd name="connsiteY10" fmla="*/ 1816100 h 2159000"/>
                  <a:gd name="connsiteX11" fmla="*/ 1885950 w 1885950"/>
                  <a:gd name="connsiteY11" fmla="*/ 2032000 h 2159000"/>
                  <a:gd name="connsiteX12" fmla="*/ 1841500 w 1885950"/>
                  <a:gd name="connsiteY12" fmla="*/ 2095500 h 2159000"/>
                  <a:gd name="connsiteX13" fmla="*/ 1739900 w 1885950"/>
                  <a:gd name="connsiteY13" fmla="*/ 2159000 h 2159000"/>
                  <a:gd name="connsiteX14" fmla="*/ 1384300 w 1885950"/>
                  <a:gd name="connsiteY14" fmla="*/ 1936750 h 2159000"/>
                  <a:gd name="connsiteX15" fmla="*/ 869950 w 1885950"/>
                  <a:gd name="connsiteY15" fmla="*/ 1530350 h 2159000"/>
                  <a:gd name="connsiteX16" fmla="*/ 628650 w 1885950"/>
                  <a:gd name="connsiteY16" fmla="*/ 1339850 h 2159000"/>
                  <a:gd name="connsiteX17" fmla="*/ 514350 w 1885950"/>
                  <a:gd name="connsiteY17" fmla="*/ 1435100 h 2159000"/>
                  <a:gd name="connsiteX18" fmla="*/ 463550 w 1885950"/>
                  <a:gd name="connsiteY18" fmla="*/ 1466850 h 2159000"/>
                  <a:gd name="connsiteX19" fmla="*/ 400050 w 1885950"/>
                  <a:gd name="connsiteY19" fmla="*/ 1422400 h 2159000"/>
                  <a:gd name="connsiteX20" fmla="*/ 254000 w 1885950"/>
                  <a:gd name="connsiteY20" fmla="*/ 1250950 h 2159000"/>
                  <a:gd name="connsiteX21" fmla="*/ 196850 w 1885950"/>
                  <a:gd name="connsiteY21" fmla="*/ 1149350 h 2159000"/>
                  <a:gd name="connsiteX22" fmla="*/ 254000 w 1885950"/>
                  <a:gd name="connsiteY22" fmla="*/ 1073150 h 2159000"/>
                  <a:gd name="connsiteX23" fmla="*/ 349250 w 1885950"/>
                  <a:gd name="connsiteY23" fmla="*/ 977900 h 2159000"/>
                  <a:gd name="connsiteX0" fmla="*/ 349250 w 1885950"/>
                  <a:gd name="connsiteY0" fmla="*/ 977900 h 2159000"/>
                  <a:gd name="connsiteX1" fmla="*/ 82550 w 1885950"/>
                  <a:gd name="connsiteY1" fmla="*/ 387350 h 2159000"/>
                  <a:gd name="connsiteX2" fmla="*/ 0 w 1885950"/>
                  <a:gd name="connsiteY2" fmla="*/ 241300 h 2159000"/>
                  <a:gd name="connsiteX3" fmla="*/ 50800 w 1885950"/>
                  <a:gd name="connsiteY3" fmla="*/ 171450 h 2159000"/>
                  <a:gd name="connsiteX4" fmla="*/ 190500 w 1885950"/>
                  <a:gd name="connsiteY4" fmla="*/ 44450 h 2159000"/>
                  <a:gd name="connsiteX5" fmla="*/ 241300 w 1885950"/>
                  <a:gd name="connsiteY5" fmla="*/ 0 h 2159000"/>
                  <a:gd name="connsiteX6" fmla="*/ 406400 w 1885950"/>
                  <a:gd name="connsiteY6" fmla="*/ 69850 h 2159000"/>
                  <a:gd name="connsiteX7" fmla="*/ 838200 w 1885950"/>
                  <a:gd name="connsiteY7" fmla="*/ 387350 h 2159000"/>
                  <a:gd name="connsiteX8" fmla="*/ 1155700 w 1885950"/>
                  <a:gd name="connsiteY8" fmla="*/ 615950 h 2159000"/>
                  <a:gd name="connsiteX9" fmla="*/ 1390650 w 1885950"/>
                  <a:gd name="connsiteY9" fmla="*/ 1047750 h 2159000"/>
                  <a:gd name="connsiteX10" fmla="*/ 1784350 w 1885950"/>
                  <a:gd name="connsiteY10" fmla="*/ 1816100 h 2159000"/>
                  <a:gd name="connsiteX11" fmla="*/ 1885950 w 1885950"/>
                  <a:gd name="connsiteY11" fmla="*/ 2032000 h 2159000"/>
                  <a:gd name="connsiteX12" fmla="*/ 1841500 w 1885950"/>
                  <a:gd name="connsiteY12" fmla="*/ 2095500 h 2159000"/>
                  <a:gd name="connsiteX13" fmla="*/ 1739900 w 1885950"/>
                  <a:gd name="connsiteY13" fmla="*/ 2159000 h 2159000"/>
                  <a:gd name="connsiteX14" fmla="*/ 1384300 w 1885950"/>
                  <a:gd name="connsiteY14" fmla="*/ 1936750 h 2159000"/>
                  <a:gd name="connsiteX15" fmla="*/ 869950 w 1885950"/>
                  <a:gd name="connsiteY15" fmla="*/ 1530350 h 2159000"/>
                  <a:gd name="connsiteX16" fmla="*/ 628650 w 1885950"/>
                  <a:gd name="connsiteY16" fmla="*/ 1339850 h 2159000"/>
                  <a:gd name="connsiteX17" fmla="*/ 514350 w 1885950"/>
                  <a:gd name="connsiteY17" fmla="*/ 1435100 h 2159000"/>
                  <a:gd name="connsiteX18" fmla="*/ 463550 w 1885950"/>
                  <a:gd name="connsiteY18" fmla="*/ 1466850 h 2159000"/>
                  <a:gd name="connsiteX19" fmla="*/ 400050 w 1885950"/>
                  <a:gd name="connsiteY19" fmla="*/ 1422400 h 2159000"/>
                  <a:gd name="connsiteX20" fmla="*/ 254000 w 1885950"/>
                  <a:gd name="connsiteY20" fmla="*/ 1250950 h 2159000"/>
                  <a:gd name="connsiteX21" fmla="*/ 196850 w 1885950"/>
                  <a:gd name="connsiteY21" fmla="*/ 1149350 h 2159000"/>
                  <a:gd name="connsiteX22" fmla="*/ 237332 w 1885950"/>
                  <a:gd name="connsiteY22" fmla="*/ 1068388 h 2159000"/>
                  <a:gd name="connsiteX23" fmla="*/ 349250 w 1885950"/>
                  <a:gd name="connsiteY23" fmla="*/ 977900 h 2159000"/>
                  <a:gd name="connsiteX0" fmla="*/ 349250 w 1885950"/>
                  <a:gd name="connsiteY0" fmla="*/ 977900 h 2159000"/>
                  <a:gd name="connsiteX1" fmla="*/ 82550 w 1885950"/>
                  <a:gd name="connsiteY1" fmla="*/ 387350 h 2159000"/>
                  <a:gd name="connsiteX2" fmla="*/ 0 w 1885950"/>
                  <a:gd name="connsiteY2" fmla="*/ 241300 h 2159000"/>
                  <a:gd name="connsiteX3" fmla="*/ 50800 w 1885950"/>
                  <a:gd name="connsiteY3" fmla="*/ 171450 h 2159000"/>
                  <a:gd name="connsiteX4" fmla="*/ 190500 w 1885950"/>
                  <a:gd name="connsiteY4" fmla="*/ 44450 h 2159000"/>
                  <a:gd name="connsiteX5" fmla="*/ 241300 w 1885950"/>
                  <a:gd name="connsiteY5" fmla="*/ 0 h 2159000"/>
                  <a:gd name="connsiteX6" fmla="*/ 406400 w 1885950"/>
                  <a:gd name="connsiteY6" fmla="*/ 69850 h 2159000"/>
                  <a:gd name="connsiteX7" fmla="*/ 838200 w 1885950"/>
                  <a:gd name="connsiteY7" fmla="*/ 387350 h 2159000"/>
                  <a:gd name="connsiteX8" fmla="*/ 1155700 w 1885950"/>
                  <a:gd name="connsiteY8" fmla="*/ 615950 h 2159000"/>
                  <a:gd name="connsiteX9" fmla="*/ 1390650 w 1885950"/>
                  <a:gd name="connsiteY9" fmla="*/ 1047750 h 2159000"/>
                  <a:gd name="connsiteX10" fmla="*/ 1784350 w 1885950"/>
                  <a:gd name="connsiteY10" fmla="*/ 1816100 h 2159000"/>
                  <a:gd name="connsiteX11" fmla="*/ 1885950 w 1885950"/>
                  <a:gd name="connsiteY11" fmla="*/ 2032000 h 2159000"/>
                  <a:gd name="connsiteX12" fmla="*/ 1841500 w 1885950"/>
                  <a:gd name="connsiteY12" fmla="*/ 2095500 h 2159000"/>
                  <a:gd name="connsiteX13" fmla="*/ 1739900 w 1885950"/>
                  <a:gd name="connsiteY13" fmla="*/ 2159000 h 2159000"/>
                  <a:gd name="connsiteX14" fmla="*/ 1384300 w 1885950"/>
                  <a:gd name="connsiteY14" fmla="*/ 1936750 h 2159000"/>
                  <a:gd name="connsiteX15" fmla="*/ 869950 w 1885950"/>
                  <a:gd name="connsiteY15" fmla="*/ 1530350 h 2159000"/>
                  <a:gd name="connsiteX16" fmla="*/ 628650 w 1885950"/>
                  <a:gd name="connsiteY16" fmla="*/ 1339850 h 2159000"/>
                  <a:gd name="connsiteX17" fmla="*/ 535781 w 1885950"/>
                  <a:gd name="connsiteY17" fmla="*/ 1425575 h 2159000"/>
                  <a:gd name="connsiteX18" fmla="*/ 463550 w 1885950"/>
                  <a:gd name="connsiteY18" fmla="*/ 1466850 h 2159000"/>
                  <a:gd name="connsiteX19" fmla="*/ 400050 w 1885950"/>
                  <a:gd name="connsiteY19" fmla="*/ 1422400 h 2159000"/>
                  <a:gd name="connsiteX20" fmla="*/ 254000 w 1885950"/>
                  <a:gd name="connsiteY20" fmla="*/ 1250950 h 2159000"/>
                  <a:gd name="connsiteX21" fmla="*/ 196850 w 1885950"/>
                  <a:gd name="connsiteY21" fmla="*/ 1149350 h 2159000"/>
                  <a:gd name="connsiteX22" fmla="*/ 237332 w 1885950"/>
                  <a:gd name="connsiteY22" fmla="*/ 1068388 h 2159000"/>
                  <a:gd name="connsiteX23" fmla="*/ 349250 w 1885950"/>
                  <a:gd name="connsiteY23" fmla="*/ 977900 h 2159000"/>
                  <a:gd name="connsiteX0" fmla="*/ 349250 w 1885950"/>
                  <a:gd name="connsiteY0" fmla="*/ 977900 h 2159000"/>
                  <a:gd name="connsiteX1" fmla="*/ 82550 w 1885950"/>
                  <a:gd name="connsiteY1" fmla="*/ 387350 h 2159000"/>
                  <a:gd name="connsiteX2" fmla="*/ 0 w 1885950"/>
                  <a:gd name="connsiteY2" fmla="*/ 241300 h 2159000"/>
                  <a:gd name="connsiteX3" fmla="*/ 50800 w 1885950"/>
                  <a:gd name="connsiteY3" fmla="*/ 171450 h 2159000"/>
                  <a:gd name="connsiteX4" fmla="*/ 190500 w 1885950"/>
                  <a:gd name="connsiteY4" fmla="*/ 44450 h 2159000"/>
                  <a:gd name="connsiteX5" fmla="*/ 241300 w 1885950"/>
                  <a:gd name="connsiteY5" fmla="*/ 0 h 2159000"/>
                  <a:gd name="connsiteX6" fmla="*/ 406400 w 1885950"/>
                  <a:gd name="connsiteY6" fmla="*/ 69850 h 2159000"/>
                  <a:gd name="connsiteX7" fmla="*/ 838200 w 1885950"/>
                  <a:gd name="connsiteY7" fmla="*/ 387350 h 2159000"/>
                  <a:gd name="connsiteX8" fmla="*/ 1155700 w 1885950"/>
                  <a:gd name="connsiteY8" fmla="*/ 615950 h 2159000"/>
                  <a:gd name="connsiteX9" fmla="*/ 1390650 w 1885950"/>
                  <a:gd name="connsiteY9" fmla="*/ 1047750 h 2159000"/>
                  <a:gd name="connsiteX10" fmla="*/ 1784350 w 1885950"/>
                  <a:gd name="connsiteY10" fmla="*/ 1816100 h 2159000"/>
                  <a:gd name="connsiteX11" fmla="*/ 1885950 w 1885950"/>
                  <a:gd name="connsiteY11" fmla="*/ 2032000 h 2159000"/>
                  <a:gd name="connsiteX12" fmla="*/ 1841500 w 1885950"/>
                  <a:gd name="connsiteY12" fmla="*/ 2095500 h 2159000"/>
                  <a:gd name="connsiteX13" fmla="*/ 1739900 w 1885950"/>
                  <a:gd name="connsiteY13" fmla="*/ 2159000 h 2159000"/>
                  <a:gd name="connsiteX14" fmla="*/ 1384300 w 1885950"/>
                  <a:gd name="connsiteY14" fmla="*/ 1936750 h 2159000"/>
                  <a:gd name="connsiteX15" fmla="*/ 869950 w 1885950"/>
                  <a:gd name="connsiteY15" fmla="*/ 1530350 h 2159000"/>
                  <a:gd name="connsiteX16" fmla="*/ 628650 w 1885950"/>
                  <a:gd name="connsiteY16" fmla="*/ 1339850 h 2159000"/>
                  <a:gd name="connsiteX17" fmla="*/ 535781 w 1885950"/>
                  <a:gd name="connsiteY17" fmla="*/ 1425575 h 2159000"/>
                  <a:gd name="connsiteX18" fmla="*/ 463550 w 1885950"/>
                  <a:gd name="connsiteY18" fmla="*/ 1466850 h 2159000"/>
                  <a:gd name="connsiteX19" fmla="*/ 400050 w 1885950"/>
                  <a:gd name="connsiteY19" fmla="*/ 1422400 h 2159000"/>
                  <a:gd name="connsiteX20" fmla="*/ 254000 w 1885950"/>
                  <a:gd name="connsiteY20" fmla="*/ 1250950 h 2159000"/>
                  <a:gd name="connsiteX21" fmla="*/ 196850 w 1885950"/>
                  <a:gd name="connsiteY21" fmla="*/ 1149350 h 2159000"/>
                  <a:gd name="connsiteX22" fmla="*/ 237332 w 1885950"/>
                  <a:gd name="connsiteY22" fmla="*/ 1068388 h 2159000"/>
                  <a:gd name="connsiteX23" fmla="*/ 349250 w 1885950"/>
                  <a:gd name="connsiteY23" fmla="*/ 977900 h 2159000"/>
                  <a:gd name="connsiteX0" fmla="*/ 349250 w 1885950"/>
                  <a:gd name="connsiteY0" fmla="*/ 977900 h 2159000"/>
                  <a:gd name="connsiteX1" fmla="*/ 82550 w 1885950"/>
                  <a:gd name="connsiteY1" fmla="*/ 387350 h 2159000"/>
                  <a:gd name="connsiteX2" fmla="*/ 0 w 1885950"/>
                  <a:gd name="connsiteY2" fmla="*/ 241300 h 2159000"/>
                  <a:gd name="connsiteX3" fmla="*/ 50800 w 1885950"/>
                  <a:gd name="connsiteY3" fmla="*/ 171450 h 2159000"/>
                  <a:gd name="connsiteX4" fmla="*/ 190500 w 1885950"/>
                  <a:gd name="connsiteY4" fmla="*/ 44450 h 2159000"/>
                  <a:gd name="connsiteX5" fmla="*/ 241300 w 1885950"/>
                  <a:gd name="connsiteY5" fmla="*/ 0 h 2159000"/>
                  <a:gd name="connsiteX6" fmla="*/ 406400 w 1885950"/>
                  <a:gd name="connsiteY6" fmla="*/ 69850 h 2159000"/>
                  <a:gd name="connsiteX7" fmla="*/ 838200 w 1885950"/>
                  <a:gd name="connsiteY7" fmla="*/ 387350 h 2159000"/>
                  <a:gd name="connsiteX8" fmla="*/ 1155700 w 1885950"/>
                  <a:gd name="connsiteY8" fmla="*/ 615950 h 2159000"/>
                  <a:gd name="connsiteX9" fmla="*/ 1390650 w 1885950"/>
                  <a:gd name="connsiteY9" fmla="*/ 1047750 h 2159000"/>
                  <a:gd name="connsiteX10" fmla="*/ 1784350 w 1885950"/>
                  <a:gd name="connsiteY10" fmla="*/ 1816100 h 2159000"/>
                  <a:gd name="connsiteX11" fmla="*/ 1885950 w 1885950"/>
                  <a:gd name="connsiteY11" fmla="*/ 2032000 h 2159000"/>
                  <a:gd name="connsiteX12" fmla="*/ 1841500 w 1885950"/>
                  <a:gd name="connsiteY12" fmla="*/ 2095500 h 2159000"/>
                  <a:gd name="connsiteX13" fmla="*/ 1739900 w 1885950"/>
                  <a:gd name="connsiteY13" fmla="*/ 2159000 h 2159000"/>
                  <a:gd name="connsiteX14" fmla="*/ 1384300 w 1885950"/>
                  <a:gd name="connsiteY14" fmla="*/ 1936750 h 2159000"/>
                  <a:gd name="connsiteX15" fmla="*/ 869950 w 1885950"/>
                  <a:gd name="connsiteY15" fmla="*/ 1530350 h 2159000"/>
                  <a:gd name="connsiteX16" fmla="*/ 628650 w 1885950"/>
                  <a:gd name="connsiteY16" fmla="*/ 1339850 h 2159000"/>
                  <a:gd name="connsiteX17" fmla="*/ 535781 w 1885950"/>
                  <a:gd name="connsiteY17" fmla="*/ 1425575 h 2159000"/>
                  <a:gd name="connsiteX18" fmla="*/ 463550 w 1885950"/>
                  <a:gd name="connsiteY18" fmla="*/ 1466850 h 2159000"/>
                  <a:gd name="connsiteX19" fmla="*/ 400050 w 1885950"/>
                  <a:gd name="connsiteY19" fmla="*/ 1422400 h 2159000"/>
                  <a:gd name="connsiteX20" fmla="*/ 254000 w 1885950"/>
                  <a:gd name="connsiteY20" fmla="*/ 1250950 h 2159000"/>
                  <a:gd name="connsiteX21" fmla="*/ 196850 w 1885950"/>
                  <a:gd name="connsiteY21" fmla="*/ 1149350 h 2159000"/>
                  <a:gd name="connsiteX22" fmla="*/ 237332 w 1885950"/>
                  <a:gd name="connsiteY22" fmla="*/ 1068388 h 2159000"/>
                  <a:gd name="connsiteX23" fmla="*/ 349250 w 1885950"/>
                  <a:gd name="connsiteY23" fmla="*/ 977900 h 2159000"/>
                  <a:gd name="connsiteX0" fmla="*/ 349250 w 1885950"/>
                  <a:gd name="connsiteY0" fmla="*/ 977900 h 2159000"/>
                  <a:gd name="connsiteX1" fmla="*/ 82550 w 1885950"/>
                  <a:gd name="connsiteY1" fmla="*/ 387350 h 2159000"/>
                  <a:gd name="connsiteX2" fmla="*/ 0 w 1885950"/>
                  <a:gd name="connsiteY2" fmla="*/ 241300 h 2159000"/>
                  <a:gd name="connsiteX3" fmla="*/ 50800 w 1885950"/>
                  <a:gd name="connsiteY3" fmla="*/ 171450 h 2159000"/>
                  <a:gd name="connsiteX4" fmla="*/ 190500 w 1885950"/>
                  <a:gd name="connsiteY4" fmla="*/ 44450 h 2159000"/>
                  <a:gd name="connsiteX5" fmla="*/ 241300 w 1885950"/>
                  <a:gd name="connsiteY5" fmla="*/ 0 h 2159000"/>
                  <a:gd name="connsiteX6" fmla="*/ 406400 w 1885950"/>
                  <a:gd name="connsiteY6" fmla="*/ 69850 h 2159000"/>
                  <a:gd name="connsiteX7" fmla="*/ 1155700 w 1885950"/>
                  <a:gd name="connsiteY7" fmla="*/ 615950 h 2159000"/>
                  <a:gd name="connsiteX8" fmla="*/ 1390650 w 1885950"/>
                  <a:gd name="connsiteY8" fmla="*/ 1047750 h 2159000"/>
                  <a:gd name="connsiteX9" fmla="*/ 1784350 w 1885950"/>
                  <a:gd name="connsiteY9" fmla="*/ 1816100 h 2159000"/>
                  <a:gd name="connsiteX10" fmla="*/ 1885950 w 1885950"/>
                  <a:gd name="connsiteY10" fmla="*/ 2032000 h 2159000"/>
                  <a:gd name="connsiteX11" fmla="*/ 1841500 w 1885950"/>
                  <a:gd name="connsiteY11" fmla="*/ 2095500 h 2159000"/>
                  <a:gd name="connsiteX12" fmla="*/ 1739900 w 1885950"/>
                  <a:gd name="connsiteY12" fmla="*/ 2159000 h 2159000"/>
                  <a:gd name="connsiteX13" fmla="*/ 1384300 w 1885950"/>
                  <a:gd name="connsiteY13" fmla="*/ 1936750 h 2159000"/>
                  <a:gd name="connsiteX14" fmla="*/ 869950 w 1885950"/>
                  <a:gd name="connsiteY14" fmla="*/ 1530350 h 2159000"/>
                  <a:gd name="connsiteX15" fmla="*/ 628650 w 1885950"/>
                  <a:gd name="connsiteY15" fmla="*/ 1339850 h 2159000"/>
                  <a:gd name="connsiteX16" fmla="*/ 535781 w 1885950"/>
                  <a:gd name="connsiteY16" fmla="*/ 1425575 h 2159000"/>
                  <a:gd name="connsiteX17" fmla="*/ 463550 w 1885950"/>
                  <a:gd name="connsiteY17" fmla="*/ 1466850 h 2159000"/>
                  <a:gd name="connsiteX18" fmla="*/ 400050 w 1885950"/>
                  <a:gd name="connsiteY18" fmla="*/ 1422400 h 2159000"/>
                  <a:gd name="connsiteX19" fmla="*/ 254000 w 1885950"/>
                  <a:gd name="connsiteY19" fmla="*/ 1250950 h 2159000"/>
                  <a:gd name="connsiteX20" fmla="*/ 196850 w 1885950"/>
                  <a:gd name="connsiteY20" fmla="*/ 1149350 h 2159000"/>
                  <a:gd name="connsiteX21" fmla="*/ 237332 w 1885950"/>
                  <a:gd name="connsiteY21" fmla="*/ 1068388 h 2159000"/>
                  <a:gd name="connsiteX22" fmla="*/ 349250 w 1885950"/>
                  <a:gd name="connsiteY22" fmla="*/ 977900 h 2159000"/>
                  <a:gd name="connsiteX0" fmla="*/ 349250 w 1885950"/>
                  <a:gd name="connsiteY0" fmla="*/ 1010708 h 2191808"/>
                  <a:gd name="connsiteX1" fmla="*/ 82550 w 1885950"/>
                  <a:gd name="connsiteY1" fmla="*/ 420158 h 2191808"/>
                  <a:gd name="connsiteX2" fmla="*/ 0 w 1885950"/>
                  <a:gd name="connsiteY2" fmla="*/ 274108 h 2191808"/>
                  <a:gd name="connsiteX3" fmla="*/ 50800 w 1885950"/>
                  <a:gd name="connsiteY3" fmla="*/ 204258 h 2191808"/>
                  <a:gd name="connsiteX4" fmla="*/ 190500 w 1885950"/>
                  <a:gd name="connsiteY4" fmla="*/ 77258 h 2191808"/>
                  <a:gd name="connsiteX5" fmla="*/ 241300 w 1885950"/>
                  <a:gd name="connsiteY5" fmla="*/ 32808 h 2191808"/>
                  <a:gd name="connsiteX6" fmla="*/ 406400 w 1885950"/>
                  <a:gd name="connsiteY6" fmla="*/ 102658 h 2191808"/>
                  <a:gd name="connsiteX7" fmla="*/ 1155700 w 1885950"/>
                  <a:gd name="connsiteY7" fmla="*/ 648758 h 2191808"/>
                  <a:gd name="connsiteX8" fmla="*/ 1390650 w 1885950"/>
                  <a:gd name="connsiteY8" fmla="*/ 1080558 h 2191808"/>
                  <a:gd name="connsiteX9" fmla="*/ 1784350 w 1885950"/>
                  <a:gd name="connsiteY9" fmla="*/ 1848908 h 2191808"/>
                  <a:gd name="connsiteX10" fmla="*/ 1885950 w 1885950"/>
                  <a:gd name="connsiteY10" fmla="*/ 2064808 h 2191808"/>
                  <a:gd name="connsiteX11" fmla="*/ 1841500 w 1885950"/>
                  <a:gd name="connsiteY11" fmla="*/ 2128308 h 2191808"/>
                  <a:gd name="connsiteX12" fmla="*/ 1739900 w 1885950"/>
                  <a:gd name="connsiteY12" fmla="*/ 2191808 h 2191808"/>
                  <a:gd name="connsiteX13" fmla="*/ 1384300 w 1885950"/>
                  <a:gd name="connsiteY13" fmla="*/ 1969558 h 2191808"/>
                  <a:gd name="connsiteX14" fmla="*/ 869950 w 1885950"/>
                  <a:gd name="connsiteY14" fmla="*/ 1563158 h 2191808"/>
                  <a:gd name="connsiteX15" fmla="*/ 628650 w 1885950"/>
                  <a:gd name="connsiteY15" fmla="*/ 1372658 h 2191808"/>
                  <a:gd name="connsiteX16" fmla="*/ 535781 w 1885950"/>
                  <a:gd name="connsiteY16" fmla="*/ 1458383 h 2191808"/>
                  <a:gd name="connsiteX17" fmla="*/ 463550 w 1885950"/>
                  <a:gd name="connsiteY17" fmla="*/ 1499658 h 2191808"/>
                  <a:gd name="connsiteX18" fmla="*/ 400050 w 1885950"/>
                  <a:gd name="connsiteY18" fmla="*/ 1455208 h 2191808"/>
                  <a:gd name="connsiteX19" fmla="*/ 254000 w 1885950"/>
                  <a:gd name="connsiteY19" fmla="*/ 1283758 h 2191808"/>
                  <a:gd name="connsiteX20" fmla="*/ 196850 w 1885950"/>
                  <a:gd name="connsiteY20" fmla="*/ 1182158 h 2191808"/>
                  <a:gd name="connsiteX21" fmla="*/ 237332 w 1885950"/>
                  <a:gd name="connsiteY21" fmla="*/ 1101196 h 2191808"/>
                  <a:gd name="connsiteX22" fmla="*/ 349250 w 1885950"/>
                  <a:gd name="connsiteY22" fmla="*/ 1010708 h 2191808"/>
                  <a:gd name="connsiteX0" fmla="*/ 349250 w 1885950"/>
                  <a:gd name="connsiteY0" fmla="*/ 1010708 h 2191808"/>
                  <a:gd name="connsiteX1" fmla="*/ 82550 w 1885950"/>
                  <a:gd name="connsiteY1" fmla="*/ 420158 h 2191808"/>
                  <a:gd name="connsiteX2" fmla="*/ 0 w 1885950"/>
                  <a:gd name="connsiteY2" fmla="*/ 274108 h 2191808"/>
                  <a:gd name="connsiteX3" fmla="*/ 50800 w 1885950"/>
                  <a:gd name="connsiteY3" fmla="*/ 204258 h 2191808"/>
                  <a:gd name="connsiteX4" fmla="*/ 190500 w 1885950"/>
                  <a:gd name="connsiteY4" fmla="*/ 77258 h 2191808"/>
                  <a:gd name="connsiteX5" fmla="*/ 279400 w 1885950"/>
                  <a:gd name="connsiteY5" fmla="*/ 25664 h 2191808"/>
                  <a:gd name="connsiteX6" fmla="*/ 406400 w 1885950"/>
                  <a:gd name="connsiteY6" fmla="*/ 102658 h 2191808"/>
                  <a:gd name="connsiteX7" fmla="*/ 1155700 w 1885950"/>
                  <a:gd name="connsiteY7" fmla="*/ 648758 h 2191808"/>
                  <a:gd name="connsiteX8" fmla="*/ 1390650 w 1885950"/>
                  <a:gd name="connsiteY8" fmla="*/ 1080558 h 2191808"/>
                  <a:gd name="connsiteX9" fmla="*/ 1784350 w 1885950"/>
                  <a:gd name="connsiteY9" fmla="*/ 1848908 h 2191808"/>
                  <a:gd name="connsiteX10" fmla="*/ 1885950 w 1885950"/>
                  <a:gd name="connsiteY10" fmla="*/ 2064808 h 2191808"/>
                  <a:gd name="connsiteX11" fmla="*/ 1841500 w 1885950"/>
                  <a:gd name="connsiteY11" fmla="*/ 2128308 h 2191808"/>
                  <a:gd name="connsiteX12" fmla="*/ 1739900 w 1885950"/>
                  <a:gd name="connsiteY12" fmla="*/ 2191808 h 2191808"/>
                  <a:gd name="connsiteX13" fmla="*/ 1384300 w 1885950"/>
                  <a:gd name="connsiteY13" fmla="*/ 1969558 h 2191808"/>
                  <a:gd name="connsiteX14" fmla="*/ 869950 w 1885950"/>
                  <a:gd name="connsiteY14" fmla="*/ 1563158 h 2191808"/>
                  <a:gd name="connsiteX15" fmla="*/ 628650 w 1885950"/>
                  <a:gd name="connsiteY15" fmla="*/ 1372658 h 2191808"/>
                  <a:gd name="connsiteX16" fmla="*/ 535781 w 1885950"/>
                  <a:gd name="connsiteY16" fmla="*/ 1458383 h 2191808"/>
                  <a:gd name="connsiteX17" fmla="*/ 463550 w 1885950"/>
                  <a:gd name="connsiteY17" fmla="*/ 1499658 h 2191808"/>
                  <a:gd name="connsiteX18" fmla="*/ 400050 w 1885950"/>
                  <a:gd name="connsiteY18" fmla="*/ 1455208 h 2191808"/>
                  <a:gd name="connsiteX19" fmla="*/ 254000 w 1885950"/>
                  <a:gd name="connsiteY19" fmla="*/ 1283758 h 2191808"/>
                  <a:gd name="connsiteX20" fmla="*/ 196850 w 1885950"/>
                  <a:gd name="connsiteY20" fmla="*/ 1182158 h 2191808"/>
                  <a:gd name="connsiteX21" fmla="*/ 237332 w 1885950"/>
                  <a:gd name="connsiteY21" fmla="*/ 1101196 h 2191808"/>
                  <a:gd name="connsiteX22" fmla="*/ 349250 w 1885950"/>
                  <a:gd name="connsiteY22" fmla="*/ 1010708 h 2191808"/>
                  <a:gd name="connsiteX0" fmla="*/ 354542 w 1891242"/>
                  <a:gd name="connsiteY0" fmla="*/ 1010708 h 2191808"/>
                  <a:gd name="connsiteX1" fmla="*/ 87842 w 1891242"/>
                  <a:gd name="connsiteY1" fmla="*/ 420158 h 2191808"/>
                  <a:gd name="connsiteX2" fmla="*/ 5292 w 1891242"/>
                  <a:gd name="connsiteY2" fmla="*/ 274108 h 2191808"/>
                  <a:gd name="connsiteX3" fmla="*/ 56092 w 1891242"/>
                  <a:gd name="connsiteY3" fmla="*/ 204258 h 2191808"/>
                  <a:gd name="connsiteX4" fmla="*/ 195792 w 1891242"/>
                  <a:gd name="connsiteY4" fmla="*/ 77258 h 2191808"/>
                  <a:gd name="connsiteX5" fmla="*/ 284692 w 1891242"/>
                  <a:gd name="connsiteY5" fmla="*/ 25664 h 2191808"/>
                  <a:gd name="connsiteX6" fmla="*/ 411692 w 1891242"/>
                  <a:gd name="connsiteY6" fmla="*/ 102658 h 2191808"/>
                  <a:gd name="connsiteX7" fmla="*/ 1160992 w 1891242"/>
                  <a:gd name="connsiteY7" fmla="*/ 648758 h 2191808"/>
                  <a:gd name="connsiteX8" fmla="*/ 1395942 w 1891242"/>
                  <a:gd name="connsiteY8" fmla="*/ 1080558 h 2191808"/>
                  <a:gd name="connsiteX9" fmla="*/ 1789642 w 1891242"/>
                  <a:gd name="connsiteY9" fmla="*/ 1848908 h 2191808"/>
                  <a:gd name="connsiteX10" fmla="*/ 1891242 w 1891242"/>
                  <a:gd name="connsiteY10" fmla="*/ 2064808 h 2191808"/>
                  <a:gd name="connsiteX11" fmla="*/ 1846792 w 1891242"/>
                  <a:gd name="connsiteY11" fmla="*/ 2128308 h 2191808"/>
                  <a:gd name="connsiteX12" fmla="*/ 1745192 w 1891242"/>
                  <a:gd name="connsiteY12" fmla="*/ 2191808 h 2191808"/>
                  <a:gd name="connsiteX13" fmla="*/ 1389592 w 1891242"/>
                  <a:gd name="connsiteY13" fmla="*/ 1969558 h 2191808"/>
                  <a:gd name="connsiteX14" fmla="*/ 875242 w 1891242"/>
                  <a:gd name="connsiteY14" fmla="*/ 1563158 h 2191808"/>
                  <a:gd name="connsiteX15" fmla="*/ 633942 w 1891242"/>
                  <a:gd name="connsiteY15" fmla="*/ 1372658 h 2191808"/>
                  <a:gd name="connsiteX16" fmla="*/ 541073 w 1891242"/>
                  <a:gd name="connsiteY16" fmla="*/ 1458383 h 2191808"/>
                  <a:gd name="connsiteX17" fmla="*/ 468842 w 1891242"/>
                  <a:gd name="connsiteY17" fmla="*/ 1499658 h 2191808"/>
                  <a:gd name="connsiteX18" fmla="*/ 405342 w 1891242"/>
                  <a:gd name="connsiteY18" fmla="*/ 1455208 h 2191808"/>
                  <a:gd name="connsiteX19" fmla="*/ 259292 w 1891242"/>
                  <a:gd name="connsiteY19" fmla="*/ 1283758 h 2191808"/>
                  <a:gd name="connsiteX20" fmla="*/ 202142 w 1891242"/>
                  <a:gd name="connsiteY20" fmla="*/ 1182158 h 2191808"/>
                  <a:gd name="connsiteX21" fmla="*/ 242624 w 1891242"/>
                  <a:gd name="connsiteY21" fmla="*/ 1101196 h 2191808"/>
                  <a:gd name="connsiteX22" fmla="*/ 354542 w 1891242"/>
                  <a:gd name="connsiteY22" fmla="*/ 1010708 h 2191808"/>
                  <a:gd name="connsiteX0" fmla="*/ 354145 w 1890845"/>
                  <a:gd name="connsiteY0" fmla="*/ 1010708 h 2191808"/>
                  <a:gd name="connsiteX1" fmla="*/ 87445 w 1890845"/>
                  <a:gd name="connsiteY1" fmla="*/ 420158 h 2191808"/>
                  <a:gd name="connsiteX2" fmla="*/ 4895 w 1890845"/>
                  <a:gd name="connsiteY2" fmla="*/ 274108 h 2191808"/>
                  <a:gd name="connsiteX3" fmla="*/ 58076 w 1890845"/>
                  <a:gd name="connsiteY3" fmla="*/ 185208 h 2191808"/>
                  <a:gd name="connsiteX4" fmla="*/ 195395 w 1890845"/>
                  <a:gd name="connsiteY4" fmla="*/ 77258 h 2191808"/>
                  <a:gd name="connsiteX5" fmla="*/ 284295 w 1890845"/>
                  <a:gd name="connsiteY5" fmla="*/ 25664 h 2191808"/>
                  <a:gd name="connsiteX6" fmla="*/ 411295 w 1890845"/>
                  <a:gd name="connsiteY6" fmla="*/ 102658 h 2191808"/>
                  <a:gd name="connsiteX7" fmla="*/ 1160595 w 1890845"/>
                  <a:gd name="connsiteY7" fmla="*/ 648758 h 2191808"/>
                  <a:gd name="connsiteX8" fmla="*/ 1395545 w 1890845"/>
                  <a:gd name="connsiteY8" fmla="*/ 1080558 h 2191808"/>
                  <a:gd name="connsiteX9" fmla="*/ 1789245 w 1890845"/>
                  <a:gd name="connsiteY9" fmla="*/ 1848908 h 2191808"/>
                  <a:gd name="connsiteX10" fmla="*/ 1890845 w 1890845"/>
                  <a:gd name="connsiteY10" fmla="*/ 2064808 h 2191808"/>
                  <a:gd name="connsiteX11" fmla="*/ 1846395 w 1890845"/>
                  <a:gd name="connsiteY11" fmla="*/ 2128308 h 2191808"/>
                  <a:gd name="connsiteX12" fmla="*/ 1744795 w 1890845"/>
                  <a:gd name="connsiteY12" fmla="*/ 2191808 h 2191808"/>
                  <a:gd name="connsiteX13" fmla="*/ 1389195 w 1890845"/>
                  <a:gd name="connsiteY13" fmla="*/ 1969558 h 2191808"/>
                  <a:gd name="connsiteX14" fmla="*/ 874845 w 1890845"/>
                  <a:gd name="connsiteY14" fmla="*/ 1563158 h 2191808"/>
                  <a:gd name="connsiteX15" fmla="*/ 633545 w 1890845"/>
                  <a:gd name="connsiteY15" fmla="*/ 1372658 h 2191808"/>
                  <a:gd name="connsiteX16" fmla="*/ 540676 w 1890845"/>
                  <a:gd name="connsiteY16" fmla="*/ 1458383 h 2191808"/>
                  <a:gd name="connsiteX17" fmla="*/ 468445 w 1890845"/>
                  <a:gd name="connsiteY17" fmla="*/ 1499658 h 2191808"/>
                  <a:gd name="connsiteX18" fmla="*/ 404945 w 1890845"/>
                  <a:gd name="connsiteY18" fmla="*/ 1455208 h 2191808"/>
                  <a:gd name="connsiteX19" fmla="*/ 258895 w 1890845"/>
                  <a:gd name="connsiteY19" fmla="*/ 1283758 h 2191808"/>
                  <a:gd name="connsiteX20" fmla="*/ 201745 w 1890845"/>
                  <a:gd name="connsiteY20" fmla="*/ 1182158 h 2191808"/>
                  <a:gd name="connsiteX21" fmla="*/ 242227 w 1890845"/>
                  <a:gd name="connsiteY21" fmla="*/ 1101196 h 2191808"/>
                  <a:gd name="connsiteX22" fmla="*/ 354145 w 1890845"/>
                  <a:gd name="connsiteY22" fmla="*/ 1010708 h 2191808"/>
                  <a:gd name="connsiteX0" fmla="*/ 354145 w 1890845"/>
                  <a:gd name="connsiteY0" fmla="*/ 1010708 h 2191808"/>
                  <a:gd name="connsiteX1" fmla="*/ 87445 w 1890845"/>
                  <a:gd name="connsiteY1" fmla="*/ 420158 h 2191808"/>
                  <a:gd name="connsiteX2" fmla="*/ 4895 w 1890845"/>
                  <a:gd name="connsiteY2" fmla="*/ 274108 h 2191808"/>
                  <a:gd name="connsiteX3" fmla="*/ 58076 w 1890845"/>
                  <a:gd name="connsiteY3" fmla="*/ 185208 h 2191808"/>
                  <a:gd name="connsiteX4" fmla="*/ 181107 w 1890845"/>
                  <a:gd name="connsiteY4" fmla="*/ 77258 h 2191808"/>
                  <a:gd name="connsiteX5" fmla="*/ 284295 w 1890845"/>
                  <a:gd name="connsiteY5" fmla="*/ 25664 h 2191808"/>
                  <a:gd name="connsiteX6" fmla="*/ 411295 w 1890845"/>
                  <a:gd name="connsiteY6" fmla="*/ 102658 h 2191808"/>
                  <a:gd name="connsiteX7" fmla="*/ 1160595 w 1890845"/>
                  <a:gd name="connsiteY7" fmla="*/ 648758 h 2191808"/>
                  <a:gd name="connsiteX8" fmla="*/ 1395545 w 1890845"/>
                  <a:gd name="connsiteY8" fmla="*/ 1080558 h 2191808"/>
                  <a:gd name="connsiteX9" fmla="*/ 1789245 w 1890845"/>
                  <a:gd name="connsiteY9" fmla="*/ 1848908 h 2191808"/>
                  <a:gd name="connsiteX10" fmla="*/ 1890845 w 1890845"/>
                  <a:gd name="connsiteY10" fmla="*/ 2064808 h 2191808"/>
                  <a:gd name="connsiteX11" fmla="*/ 1846395 w 1890845"/>
                  <a:gd name="connsiteY11" fmla="*/ 2128308 h 2191808"/>
                  <a:gd name="connsiteX12" fmla="*/ 1744795 w 1890845"/>
                  <a:gd name="connsiteY12" fmla="*/ 2191808 h 2191808"/>
                  <a:gd name="connsiteX13" fmla="*/ 1389195 w 1890845"/>
                  <a:gd name="connsiteY13" fmla="*/ 1969558 h 2191808"/>
                  <a:gd name="connsiteX14" fmla="*/ 874845 w 1890845"/>
                  <a:gd name="connsiteY14" fmla="*/ 1563158 h 2191808"/>
                  <a:gd name="connsiteX15" fmla="*/ 633545 w 1890845"/>
                  <a:gd name="connsiteY15" fmla="*/ 1372658 h 2191808"/>
                  <a:gd name="connsiteX16" fmla="*/ 540676 w 1890845"/>
                  <a:gd name="connsiteY16" fmla="*/ 1458383 h 2191808"/>
                  <a:gd name="connsiteX17" fmla="*/ 468445 w 1890845"/>
                  <a:gd name="connsiteY17" fmla="*/ 1499658 h 2191808"/>
                  <a:gd name="connsiteX18" fmla="*/ 404945 w 1890845"/>
                  <a:gd name="connsiteY18" fmla="*/ 1455208 h 2191808"/>
                  <a:gd name="connsiteX19" fmla="*/ 258895 w 1890845"/>
                  <a:gd name="connsiteY19" fmla="*/ 1283758 h 2191808"/>
                  <a:gd name="connsiteX20" fmla="*/ 201745 w 1890845"/>
                  <a:gd name="connsiteY20" fmla="*/ 1182158 h 2191808"/>
                  <a:gd name="connsiteX21" fmla="*/ 242227 w 1890845"/>
                  <a:gd name="connsiteY21" fmla="*/ 1101196 h 2191808"/>
                  <a:gd name="connsiteX22" fmla="*/ 354145 w 1890845"/>
                  <a:gd name="connsiteY22" fmla="*/ 1010708 h 2191808"/>
                  <a:gd name="connsiteX0" fmla="*/ 359701 w 1896401"/>
                  <a:gd name="connsiteY0" fmla="*/ 1010708 h 2191808"/>
                  <a:gd name="connsiteX1" fmla="*/ 126338 w 1896401"/>
                  <a:gd name="connsiteY1" fmla="*/ 517790 h 2191808"/>
                  <a:gd name="connsiteX2" fmla="*/ 10451 w 1896401"/>
                  <a:gd name="connsiteY2" fmla="*/ 274108 h 2191808"/>
                  <a:gd name="connsiteX3" fmla="*/ 63632 w 1896401"/>
                  <a:gd name="connsiteY3" fmla="*/ 185208 h 2191808"/>
                  <a:gd name="connsiteX4" fmla="*/ 186663 w 1896401"/>
                  <a:gd name="connsiteY4" fmla="*/ 77258 h 2191808"/>
                  <a:gd name="connsiteX5" fmla="*/ 289851 w 1896401"/>
                  <a:gd name="connsiteY5" fmla="*/ 25664 h 2191808"/>
                  <a:gd name="connsiteX6" fmla="*/ 416851 w 1896401"/>
                  <a:gd name="connsiteY6" fmla="*/ 102658 h 2191808"/>
                  <a:gd name="connsiteX7" fmla="*/ 1166151 w 1896401"/>
                  <a:gd name="connsiteY7" fmla="*/ 648758 h 2191808"/>
                  <a:gd name="connsiteX8" fmla="*/ 1401101 w 1896401"/>
                  <a:gd name="connsiteY8" fmla="*/ 1080558 h 2191808"/>
                  <a:gd name="connsiteX9" fmla="*/ 1794801 w 1896401"/>
                  <a:gd name="connsiteY9" fmla="*/ 1848908 h 2191808"/>
                  <a:gd name="connsiteX10" fmla="*/ 1896401 w 1896401"/>
                  <a:gd name="connsiteY10" fmla="*/ 2064808 h 2191808"/>
                  <a:gd name="connsiteX11" fmla="*/ 1851951 w 1896401"/>
                  <a:gd name="connsiteY11" fmla="*/ 2128308 h 2191808"/>
                  <a:gd name="connsiteX12" fmla="*/ 1750351 w 1896401"/>
                  <a:gd name="connsiteY12" fmla="*/ 2191808 h 2191808"/>
                  <a:gd name="connsiteX13" fmla="*/ 1394751 w 1896401"/>
                  <a:gd name="connsiteY13" fmla="*/ 1969558 h 2191808"/>
                  <a:gd name="connsiteX14" fmla="*/ 880401 w 1896401"/>
                  <a:gd name="connsiteY14" fmla="*/ 1563158 h 2191808"/>
                  <a:gd name="connsiteX15" fmla="*/ 639101 w 1896401"/>
                  <a:gd name="connsiteY15" fmla="*/ 1372658 h 2191808"/>
                  <a:gd name="connsiteX16" fmla="*/ 546232 w 1896401"/>
                  <a:gd name="connsiteY16" fmla="*/ 1458383 h 2191808"/>
                  <a:gd name="connsiteX17" fmla="*/ 474001 w 1896401"/>
                  <a:gd name="connsiteY17" fmla="*/ 1499658 h 2191808"/>
                  <a:gd name="connsiteX18" fmla="*/ 410501 w 1896401"/>
                  <a:gd name="connsiteY18" fmla="*/ 1455208 h 2191808"/>
                  <a:gd name="connsiteX19" fmla="*/ 264451 w 1896401"/>
                  <a:gd name="connsiteY19" fmla="*/ 1283758 h 2191808"/>
                  <a:gd name="connsiteX20" fmla="*/ 207301 w 1896401"/>
                  <a:gd name="connsiteY20" fmla="*/ 1182158 h 2191808"/>
                  <a:gd name="connsiteX21" fmla="*/ 247783 w 1896401"/>
                  <a:gd name="connsiteY21" fmla="*/ 1101196 h 2191808"/>
                  <a:gd name="connsiteX22" fmla="*/ 359701 w 1896401"/>
                  <a:gd name="connsiteY22" fmla="*/ 1010708 h 2191808"/>
                  <a:gd name="connsiteX0" fmla="*/ 359701 w 1896401"/>
                  <a:gd name="connsiteY0" fmla="*/ 989277 h 2170377"/>
                  <a:gd name="connsiteX1" fmla="*/ 126338 w 1896401"/>
                  <a:gd name="connsiteY1" fmla="*/ 496359 h 2170377"/>
                  <a:gd name="connsiteX2" fmla="*/ 10451 w 1896401"/>
                  <a:gd name="connsiteY2" fmla="*/ 252677 h 2170377"/>
                  <a:gd name="connsiteX3" fmla="*/ 63632 w 1896401"/>
                  <a:gd name="connsiteY3" fmla="*/ 163777 h 2170377"/>
                  <a:gd name="connsiteX4" fmla="*/ 186663 w 1896401"/>
                  <a:gd name="connsiteY4" fmla="*/ 55827 h 2170377"/>
                  <a:gd name="connsiteX5" fmla="*/ 289851 w 1896401"/>
                  <a:gd name="connsiteY5" fmla="*/ 4233 h 2170377"/>
                  <a:gd name="connsiteX6" fmla="*/ 416851 w 1896401"/>
                  <a:gd name="connsiteY6" fmla="*/ 81227 h 2170377"/>
                  <a:gd name="connsiteX7" fmla="*/ 1166151 w 1896401"/>
                  <a:gd name="connsiteY7" fmla="*/ 627327 h 2170377"/>
                  <a:gd name="connsiteX8" fmla="*/ 1401101 w 1896401"/>
                  <a:gd name="connsiteY8" fmla="*/ 1059127 h 2170377"/>
                  <a:gd name="connsiteX9" fmla="*/ 1794801 w 1896401"/>
                  <a:gd name="connsiteY9" fmla="*/ 1827477 h 2170377"/>
                  <a:gd name="connsiteX10" fmla="*/ 1896401 w 1896401"/>
                  <a:gd name="connsiteY10" fmla="*/ 2043377 h 2170377"/>
                  <a:gd name="connsiteX11" fmla="*/ 1851951 w 1896401"/>
                  <a:gd name="connsiteY11" fmla="*/ 2106877 h 2170377"/>
                  <a:gd name="connsiteX12" fmla="*/ 1750351 w 1896401"/>
                  <a:gd name="connsiteY12" fmla="*/ 2170377 h 2170377"/>
                  <a:gd name="connsiteX13" fmla="*/ 1394751 w 1896401"/>
                  <a:gd name="connsiteY13" fmla="*/ 1948127 h 2170377"/>
                  <a:gd name="connsiteX14" fmla="*/ 880401 w 1896401"/>
                  <a:gd name="connsiteY14" fmla="*/ 1541727 h 2170377"/>
                  <a:gd name="connsiteX15" fmla="*/ 639101 w 1896401"/>
                  <a:gd name="connsiteY15" fmla="*/ 1351227 h 2170377"/>
                  <a:gd name="connsiteX16" fmla="*/ 546232 w 1896401"/>
                  <a:gd name="connsiteY16" fmla="*/ 1436952 h 2170377"/>
                  <a:gd name="connsiteX17" fmla="*/ 474001 w 1896401"/>
                  <a:gd name="connsiteY17" fmla="*/ 1478227 h 2170377"/>
                  <a:gd name="connsiteX18" fmla="*/ 410501 w 1896401"/>
                  <a:gd name="connsiteY18" fmla="*/ 1433777 h 2170377"/>
                  <a:gd name="connsiteX19" fmla="*/ 264451 w 1896401"/>
                  <a:gd name="connsiteY19" fmla="*/ 1262327 h 2170377"/>
                  <a:gd name="connsiteX20" fmla="*/ 207301 w 1896401"/>
                  <a:gd name="connsiteY20" fmla="*/ 1160727 h 2170377"/>
                  <a:gd name="connsiteX21" fmla="*/ 247783 w 1896401"/>
                  <a:gd name="connsiteY21" fmla="*/ 1079765 h 2170377"/>
                  <a:gd name="connsiteX22" fmla="*/ 359701 w 1896401"/>
                  <a:gd name="connsiteY22" fmla="*/ 989277 h 2170377"/>
                  <a:gd name="connsiteX0" fmla="*/ 359701 w 1896401"/>
                  <a:gd name="connsiteY0" fmla="*/ 989277 h 2196835"/>
                  <a:gd name="connsiteX1" fmla="*/ 126338 w 1896401"/>
                  <a:gd name="connsiteY1" fmla="*/ 496359 h 2196835"/>
                  <a:gd name="connsiteX2" fmla="*/ 10451 w 1896401"/>
                  <a:gd name="connsiteY2" fmla="*/ 252677 h 2196835"/>
                  <a:gd name="connsiteX3" fmla="*/ 63632 w 1896401"/>
                  <a:gd name="connsiteY3" fmla="*/ 163777 h 2196835"/>
                  <a:gd name="connsiteX4" fmla="*/ 186663 w 1896401"/>
                  <a:gd name="connsiteY4" fmla="*/ 55827 h 2196835"/>
                  <a:gd name="connsiteX5" fmla="*/ 289851 w 1896401"/>
                  <a:gd name="connsiteY5" fmla="*/ 4233 h 2196835"/>
                  <a:gd name="connsiteX6" fmla="*/ 416851 w 1896401"/>
                  <a:gd name="connsiteY6" fmla="*/ 81227 h 2196835"/>
                  <a:gd name="connsiteX7" fmla="*/ 1166151 w 1896401"/>
                  <a:gd name="connsiteY7" fmla="*/ 627327 h 2196835"/>
                  <a:gd name="connsiteX8" fmla="*/ 1401101 w 1896401"/>
                  <a:gd name="connsiteY8" fmla="*/ 1059127 h 2196835"/>
                  <a:gd name="connsiteX9" fmla="*/ 1794801 w 1896401"/>
                  <a:gd name="connsiteY9" fmla="*/ 1827477 h 2196835"/>
                  <a:gd name="connsiteX10" fmla="*/ 1896401 w 1896401"/>
                  <a:gd name="connsiteY10" fmla="*/ 2043377 h 2196835"/>
                  <a:gd name="connsiteX11" fmla="*/ 1851951 w 1896401"/>
                  <a:gd name="connsiteY11" fmla="*/ 2106877 h 2196835"/>
                  <a:gd name="connsiteX12" fmla="*/ 1750351 w 1896401"/>
                  <a:gd name="connsiteY12" fmla="*/ 2170377 h 2196835"/>
                  <a:gd name="connsiteX13" fmla="*/ 1394751 w 1896401"/>
                  <a:gd name="connsiteY13" fmla="*/ 1948127 h 2196835"/>
                  <a:gd name="connsiteX14" fmla="*/ 880401 w 1896401"/>
                  <a:gd name="connsiteY14" fmla="*/ 1541727 h 2196835"/>
                  <a:gd name="connsiteX15" fmla="*/ 639101 w 1896401"/>
                  <a:gd name="connsiteY15" fmla="*/ 1351227 h 2196835"/>
                  <a:gd name="connsiteX16" fmla="*/ 546232 w 1896401"/>
                  <a:gd name="connsiteY16" fmla="*/ 1436952 h 2196835"/>
                  <a:gd name="connsiteX17" fmla="*/ 474001 w 1896401"/>
                  <a:gd name="connsiteY17" fmla="*/ 1478227 h 2196835"/>
                  <a:gd name="connsiteX18" fmla="*/ 410501 w 1896401"/>
                  <a:gd name="connsiteY18" fmla="*/ 1433777 h 2196835"/>
                  <a:gd name="connsiteX19" fmla="*/ 264451 w 1896401"/>
                  <a:gd name="connsiteY19" fmla="*/ 1262327 h 2196835"/>
                  <a:gd name="connsiteX20" fmla="*/ 207301 w 1896401"/>
                  <a:gd name="connsiteY20" fmla="*/ 1160727 h 2196835"/>
                  <a:gd name="connsiteX21" fmla="*/ 247783 w 1896401"/>
                  <a:gd name="connsiteY21" fmla="*/ 1079765 h 2196835"/>
                  <a:gd name="connsiteX22" fmla="*/ 359701 w 1896401"/>
                  <a:gd name="connsiteY22" fmla="*/ 989277 h 2196835"/>
                  <a:gd name="connsiteX0" fmla="*/ 359701 w 1896401"/>
                  <a:gd name="connsiteY0" fmla="*/ 989277 h 2206360"/>
                  <a:gd name="connsiteX1" fmla="*/ 126338 w 1896401"/>
                  <a:gd name="connsiteY1" fmla="*/ 496359 h 2206360"/>
                  <a:gd name="connsiteX2" fmla="*/ 10451 w 1896401"/>
                  <a:gd name="connsiteY2" fmla="*/ 252677 h 2206360"/>
                  <a:gd name="connsiteX3" fmla="*/ 63632 w 1896401"/>
                  <a:gd name="connsiteY3" fmla="*/ 163777 h 2206360"/>
                  <a:gd name="connsiteX4" fmla="*/ 186663 w 1896401"/>
                  <a:gd name="connsiteY4" fmla="*/ 55827 h 2206360"/>
                  <a:gd name="connsiteX5" fmla="*/ 289851 w 1896401"/>
                  <a:gd name="connsiteY5" fmla="*/ 4233 h 2206360"/>
                  <a:gd name="connsiteX6" fmla="*/ 416851 w 1896401"/>
                  <a:gd name="connsiteY6" fmla="*/ 81227 h 2206360"/>
                  <a:gd name="connsiteX7" fmla="*/ 1166151 w 1896401"/>
                  <a:gd name="connsiteY7" fmla="*/ 627327 h 2206360"/>
                  <a:gd name="connsiteX8" fmla="*/ 1401101 w 1896401"/>
                  <a:gd name="connsiteY8" fmla="*/ 1059127 h 2206360"/>
                  <a:gd name="connsiteX9" fmla="*/ 1794801 w 1896401"/>
                  <a:gd name="connsiteY9" fmla="*/ 1827477 h 2206360"/>
                  <a:gd name="connsiteX10" fmla="*/ 1896401 w 1896401"/>
                  <a:gd name="connsiteY10" fmla="*/ 2043377 h 2206360"/>
                  <a:gd name="connsiteX11" fmla="*/ 1851951 w 1896401"/>
                  <a:gd name="connsiteY11" fmla="*/ 2106877 h 2206360"/>
                  <a:gd name="connsiteX12" fmla="*/ 1695583 w 1896401"/>
                  <a:gd name="connsiteY12" fmla="*/ 2179902 h 2206360"/>
                  <a:gd name="connsiteX13" fmla="*/ 1394751 w 1896401"/>
                  <a:gd name="connsiteY13" fmla="*/ 1948127 h 2206360"/>
                  <a:gd name="connsiteX14" fmla="*/ 880401 w 1896401"/>
                  <a:gd name="connsiteY14" fmla="*/ 1541727 h 2206360"/>
                  <a:gd name="connsiteX15" fmla="*/ 639101 w 1896401"/>
                  <a:gd name="connsiteY15" fmla="*/ 1351227 h 2206360"/>
                  <a:gd name="connsiteX16" fmla="*/ 546232 w 1896401"/>
                  <a:gd name="connsiteY16" fmla="*/ 1436952 h 2206360"/>
                  <a:gd name="connsiteX17" fmla="*/ 474001 w 1896401"/>
                  <a:gd name="connsiteY17" fmla="*/ 1478227 h 2206360"/>
                  <a:gd name="connsiteX18" fmla="*/ 410501 w 1896401"/>
                  <a:gd name="connsiteY18" fmla="*/ 1433777 h 2206360"/>
                  <a:gd name="connsiteX19" fmla="*/ 264451 w 1896401"/>
                  <a:gd name="connsiteY19" fmla="*/ 1262327 h 2206360"/>
                  <a:gd name="connsiteX20" fmla="*/ 207301 w 1896401"/>
                  <a:gd name="connsiteY20" fmla="*/ 1160727 h 2206360"/>
                  <a:gd name="connsiteX21" fmla="*/ 247783 w 1896401"/>
                  <a:gd name="connsiteY21" fmla="*/ 1079765 h 2206360"/>
                  <a:gd name="connsiteX22" fmla="*/ 359701 w 1896401"/>
                  <a:gd name="connsiteY22" fmla="*/ 989277 h 2206360"/>
                  <a:gd name="connsiteX0" fmla="*/ 359701 w 1905926"/>
                  <a:gd name="connsiteY0" fmla="*/ 989277 h 2206360"/>
                  <a:gd name="connsiteX1" fmla="*/ 126338 w 1905926"/>
                  <a:gd name="connsiteY1" fmla="*/ 496359 h 2206360"/>
                  <a:gd name="connsiteX2" fmla="*/ 10451 w 1905926"/>
                  <a:gd name="connsiteY2" fmla="*/ 252677 h 2206360"/>
                  <a:gd name="connsiteX3" fmla="*/ 63632 w 1905926"/>
                  <a:gd name="connsiteY3" fmla="*/ 163777 h 2206360"/>
                  <a:gd name="connsiteX4" fmla="*/ 186663 w 1905926"/>
                  <a:gd name="connsiteY4" fmla="*/ 55827 h 2206360"/>
                  <a:gd name="connsiteX5" fmla="*/ 289851 w 1905926"/>
                  <a:gd name="connsiteY5" fmla="*/ 4233 h 2206360"/>
                  <a:gd name="connsiteX6" fmla="*/ 416851 w 1905926"/>
                  <a:gd name="connsiteY6" fmla="*/ 81227 h 2206360"/>
                  <a:gd name="connsiteX7" fmla="*/ 1166151 w 1905926"/>
                  <a:gd name="connsiteY7" fmla="*/ 627327 h 2206360"/>
                  <a:gd name="connsiteX8" fmla="*/ 1401101 w 1905926"/>
                  <a:gd name="connsiteY8" fmla="*/ 1059127 h 2206360"/>
                  <a:gd name="connsiteX9" fmla="*/ 1794801 w 1905926"/>
                  <a:gd name="connsiteY9" fmla="*/ 1827477 h 2206360"/>
                  <a:gd name="connsiteX10" fmla="*/ 1896401 w 1905926"/>
                  <a:gd name="connsiteY10" fmla="*/ 2043377 h 2206360"/>
                  <a:gd name="connsiteX11" fmla="*/ 1851951 w 1905926"/>
                  <a:gd name="connsiteY11" fmla="*/ 2106877 h 2206360"/>
                  <a:gd name="connsiteX12" fmla="*/ 1695583 w 1905926"/>
                  <a:gd name="connsiteY12" fmla="*/ 2179902 h 2206360"/>
                  <a:gd name="connsiteX13" fmla="*/ 1394751 w 1905926"/>
                  <a:gd name="connsiteY13" fmla="*/ 1948127 h 2206360"/>
                  <a:gd name="connsiteX14" fmla="*/ 880401 w 1905926"/>
                  <a:gd name="connsiteY14" fmla="*/ 1541727 h 2206360"/>
                  <a:gd name="connsiteX15" fmla="*/ 639101 w 1905926"/>
                  <a:gd name="connsiteY15" fmla="*/ 1351227 h 2206360"/>
                  <a:gd name="connsiteX16" fmla="*/ 546232 w 1905926"/>
                  <a:gd name="connsiteY16" fmla="*/ 1436952 h 2206360"/>
                  <a:gd name="connsiteX17" fmla="*/ 474001 w 1905926"/>
                  <a:gd name="connsiteY17" fmla="*/ 1478227 h 2206360"/>
                  <a:gd name="connsiteX18" fmla="*/ 410501 w 1905926"/>
                  <a:gd name="connsiteY18" fmla="*/ 1433777 h 2206360"/>
                  <a:gd name="connsiteX19" fmla="*/ 264451 w 1905926"/>
                  <a:gd name="connsiteY19" fmla="*/ 1262327 h 2206360"/>
                  <a:gd name="connsiteX20" fmla="*/ 207301 w 1905926"/>
                  <a:gd name="connsiteY20" fmla="*/ 1160727 h 2206360"/>
                  <a:gd name="connsiteX21" fmla="*/ 247783 w 1905926"/>
                  <a:gd name="connsiteY21" fmla="*/ 1079765 h 2206360"/>
                  <a:gd name="connsiteX22" fmla="*/ 359701 w 1905926"/>
                  <a:gd name="connsiteY22" fmla="*/ 989277 h 2206360"/>
                  <a:gd name="connsiteX0" fmla="*/ 359701 w 1912937"/>
                  <a:gd name="connsiteY0" fmla="*/ 989277 h 2195777"/>
                  <a:gd name="connsiteX1" fmla="*/ 126338 w 1912937"/>
                  <a:gd name="connsiteY1" fmla="*/ 496359 h 2195777"/>
                  <a:gd name="connsiteX2" fmla="*/ 10451 w 1912937"/>
                  <a:gd name="connsiteY2" fmla="*/ 252677 h 2195777"/>
                  <a:gd name="connsiteX3" fmla="*/ 63632 w 1912937"/>
                  <a:gd name="connsiteY3" fmla="*/ 163777 h 2195777"/>
                  <a:gd name="connsiteX4" fmla="*/ 186663 w 1912937"/>
                  <a:gd name="connsiteY4" fmla="*/ 55827 h 2195777"/>
                  <a:gd name="connsiteX5" fmla="*/ 289851 w 1912937"/>
                  <a:gd name="connsiteY5" fmla="*/ 4233 h 2195777"/>
                  <a:gd name="connsiteX6" fmla="*/ 416851 w 1912937"/>
                  <a:gd name="connsiteY6" fmla="*/ 81227 h 2195777"/>
                  <a:gd name="connsiteX7" fmla="*/ 1166151 w 1912937"/>
                  <a:gd name="connsiteY7" fmla="*/ 627327 h 2195777"/>
                  <a:gd name="connsiteX8" fmla="*/ 1401101 w 1912937"/>
                  <a:gd name="connsiteY8" fmla="*/ 1059127 h 2195777"/>
                  <a:gd name="connsiteX9" fmla="*/ 1794801 w 1912937"/>
                  <a:gd name="connsiteY9" fmla="*/ 1827477 h 2195777"/>
                  <a:gd name="connsiteX10" fmla="*/ 1896401 w 1912937"/>
                  <a:gd name="connsiteY10" fmla="*/ 2043377 h 2195777"/>
                  <a:gd name="connsiteX11" fmla="*/ 1695583 w 1912937"/>
                  <a:gd name="connsiteY11" fmla="*/ 2179902 h 2195777"/>
                  <a:gd name="connsiteX12" fmla="*/ 1394751 w 1912937"/>
                  <a:gd name="connsiteY12" fmla="*/ 1948127 h 2195777"/>
                  <a:gd name="connsiteX13" fmla="*/ 880401 w 1912937"/>
                  <a:gd name="connsiteY13" fmla="*/ 1541727 h 2195777"/>
                  <a:gd name="connsiteX14" fmla="*/ 639101 w 1912937"/>
                  <a:gd name="connsiteY14" fmla="*/ 1351227 h 2195777"/>
                  <a:gd name="connsiteX15" fmla="*/ 546232 w 1912937"/>
                  <a:gd name="connsiteY15" fmla="*/ 1436952 h 2195777"/>
                  <a:gd name="connsiteX16" fmla="*/ 474001 w 1912937"/>
                  <a:gd name="connsiteY16" fmla="*/ 1478227 h 2195777"/>
                  <a:gd name="connsiteX17" fmla="*/ 410501 w 1912937"/>
                  <a:gd name="connsiteY17" fmla="*/ 1433777 h 2195777"/>
                  <a:gd name="connsiteX18" fmla="*/ 264451 w 1912937"/>
                  <a:gd name="connsiteY18" fmla="*/ 1262327 h 2195777"/>
                  <a:gd name="connsiteX19" fmla="*/ 207301 w 1912937"/>
                  <a:gd name="connsiteY19" fmla="*/ 1160727 h 2195777"/>
                  <a:gd name="connsiteX20" fmla="*/ 247783 w 1912937"/>
                  <a:gd name="connsiteY20" fmla="*/ 1079765 h 2195777"/>
                  <a:gd name="connsiteX21" fmla="*/ 359701 w 1912937"/>
                  <a:gd name="connsiteY21" fmla="*/ 989277 h 21957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912937" h="2195777">
                    <a:moveTo>
                      <a:pt x="359701" y="989277"/>
                    </a:moveTo>
                    <a:lnTo>
                      <a:pt x="126338" y="496359"/>
                    </a:lnTo>
                    <a:cubicBezTo>
                      <a:pt x="68130" y="373592"/>
                      <a:pt x="20902" y="308107"/>
                      <a:pt x="10451" y="252677"/>
                    </a:cubicBezTo>
                    <a:cubicBezTo>
                      <a:pt x="0" y="197247"/>
                      <a:pt x="31882" y="196585"/>
                      <a:pt x="63632" y="163777"/>
                    </a:cubicBezTo>
                    <a:lnTo>
                      <a:pt x="186663" y="55827"/>
                    </a:lnTo>
                    <a:cubicBezTo>
                      <a:pt x="218413" y="27252"/>
                      <a:pt x="251486" y="0"/>
                      <a:pt x="289851" y="4233"/>
                    </a:cubicBezTo>
                    <a:cubicBezTo>
                      <a:pt x="328216" y="8466"/>
                      <a:pt x="316839" y="23813"/>
                      <a:pt x="416851" y="81227"/>
                    </a:cubicBezTo>
                    <a:lnTo>
                      <a:pt x="1166151" y="627327"/>
                    </a:lnTo>
                    <a:cubicBezTo>
                      <a:pt x="1258226" y="737394"/>
                      <a:pt x="1296326" y="859102"/>
                      <a:pt x="1401101" y="1059127"/>
                    </a:cubicBezTo>
                    <a:lnTo>
                      <a:pt x="1794801" y="1827477"/>
                    </a:lnTo>
                    <a:cubicBezTo>
                      <a:pt x="1877351" y="1991519"/>
                      <a:pt x="1912937" y="1984640"/>
                      <a:pt x="1896401" y="2043377"/>
                    </a:cubicBezTo>
                    <a:cubicBezTo>
                      <a:pt x="1879865" y="2102115"/>
                      <a:pt x="1779191" y="2195777"/>
                      <a:pt x="1695583" y="2179902"/>
                    </a:cubicBezTo>
                    <a:cubicBezTo>
                      <a:pt x="1619383" y="2153444"/>
                      <a:pt x="1539743" y="2052902"/>
                      <a:pt x="1394751" y="1948127"/>
                    </a:cubicBezTo>
                    <a:lnTo>
                      <a:pt x="880401" y="1541727"/>
                    </a:lnTo>
                    <a:lnTo>
                      <a:pt x="639101" y="1351227"/>
                    </a:lnTo>
                    <a:lnTo>
                      <a:pt x="546232" y="1436952"/>
                    </a:lnTo>
                    <a:cubicBezTo>
                      <a:pt x="518715" y="1458119"/>
                      <a:pt x="496623" y="1478756"/>
                      <a:pt x="474001" y="1478227"/>
                    </a:cubicBezTo>
                    <a:cubicBezTo>
                      <a:pt x="451379" y="1477698"/>
                      <a:pt x="445426" y="1469760"/>
                      <a:pt x="410501" y="1433777"/>
                    </a:cubicBezTo>
                    <a:lnTo>
                      <a:pt x="264451" y="1262327"/>
                    </a:lnTo>
                    <a:cubicBezTo>
                      <a:pt x="230584" y="1216819"/>
                      <a:pt x="210079" y="1191154"/>
                      <a:pt x="207301" y="1160727"/>
                    </a:cubicBezTo>
                    <a:cubicBezTo>
                      <a:pt x="204523" y="1130300"/>
                      <a:pt x="222383" y="1108340"/>
                      <a:pt x="247783" y="1079765"/>
                    </a:cubicBezTo>
                    <a:lnTo>
                      <a:pt x="359701" y="989277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12699" cap="flat" cmpd="sng" algn="ctr">
                    <a:solidFill>
                      <a:schemeClr val="tx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none" lIns="90488" tIns="44450" rIns="90488" bIns="44450" numCol="1" rtlCol="0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defRPr/>
                </a:pPr>
                <a:endParaRPr lang="en-US" b="1" kern="0" dirty="0">
                  <a:solidFill>
                    <a:srgbClr val="000000"/>
                  </a:solidFill>
                  <a:latin typeface="Honeywell Sans" panose="02010503040101060203" pitchFamily="50" charset="0"/>
                  <a:cs typeface="Arial" pitchFamily="34" charset="0"/>
                </a:endParaRPr>
              </a:p>
            </p:txBody>
          </p:sp>
          <p:sp>
            <p:nvSpPr>
              <p:cNvPr id="396" name="Rectangle 395"/>
              <p:cNvSpPr/>
              <p:nvPr/>
            </p:nvSpPr>
            <p:spPr bwMode="auto">
              <a:xfrm>
                <a:off x="1883984" y="1269829"/>
                <a:ext cx="24863" cy="823596"/>
              </a:xfrm>
              <a:prstGeom prst="rect">
                <a:avLst/>
              </a:pr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12699" cap="flat" cmpd="sng" algn="ctr">
                    <a:solidFill>
                      <a:schemeClr val="tx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none" lIns="90488" tIns="44450" rIns="90488" bIns="44450" numCol="1" rtlCol="0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defRPr/>
                </a:pPr>
                <a:endParaRPr lang="en-US" b="1" kern="0" dirty="0">
                  <a:solidFill>
                    <a:srgbClr val="000000"/>
                  </a:solidFill>
                  <a:latin typeface="Honeywell Sans" panose="02010503040101060203" pitchFamily="50" charset="0"/>
                  <a:cs typeface="Arial" pitchFamily="34" charset="0"/>
                </a:endParaRPr>
              </a:p>
            </p:txBody>
          </p:sp>
          <p:grpSp>
            <p:nvGrpSpPr>
              <p:cNvPr id="397" name="Group 417"/>
              <p:cNvGrpSpPr/>
              <p:nvPr/>
            </p:nvGrpSpPr>
            <p:grpSpPr>
              <a:xfrm flipH="1">
                <a:off x="437499" y="1637676"/>
                <a:ext cx="186422" cy="429768"/>
                <a:chOff x="1766870" y="879728"/>
                <a:chExt cx="136275" cy="255412"/>
              </a:xfrm>
              <a:grpFill/>
            </p:grpSpPr>
            <p:sp>
              <p:nvSpPr>
                <p:cNvPr id="408" name="Rectangle 407"/>
                <p:cNvSpPr/>
                <p:nvPr/>
              </p:nvSpPr>
              <p:spPr bwMode="auto">
                <a:xfrm flipH="1">
                  <a:off x="1766870" y="895885"/>
                  <a:ext cx="15891" cy="233675"/>
                </a:xfrm>
                <a:prstGeom prst="rect">
                  <a:avLst/>
                </a:pr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xmlns="" w="12699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14:hiddenLine>
                  </a:ex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horz" wrap="none" lIns="90488" tIns="44450" rIns="90488" bIns="4445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lnSpc>
                      <a:spcPct val="110000"/>
                    </a:lnSpc>
                    <a:defRPr/>
                  </a:pPr>
                  <a:endParaRPr lang="en-US" b="1" kern="0" dirty="0">
                    <a:solidFill>
                      <a:srgbClr val="000000"/>
                    </a:solidFill>
                    <a:latin typeface="Honeywell Sans" panose="02010503040101060203" pitchFamily="50" charset="0"/>
                    <a:cs typeface="Arial" pitchFamily="34" charset="0"/>
                  </a:endParaRPr>
                </a:p>
              </p:txBody>
            </p:sp>
            <p:sp>
              <p:nvSpPr>
                <p:cNvPr id="409" name="Rectangle 408"/>
                <p:cNvSpPr/>
                <p:nvPr/>
              </p:nvSpPr>
              <p:spPr bwMode="auto">
                <a:xfrm flipH="1">
                  <a:off x="1865240" y="879728"/>
                  <a:ext cx="37905" cy="255412"/>
                </a:xfrm>
                <a:prstGeom prst="rect">
                  <a:avLst/>
                </a:pr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xmlns="" w="12699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14:hiddenLine>
                  </a:ex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horz" wrap="none" lIns="90488" tIns="44450" rIns="90488" bIns="44450" numCol="1" rtlCol="0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algn="l" rtl="0" eaLnBrk="0" fontAlgn="base" hangingPunct="0">
                    <a:lnSpc>
                      <a:spcPct val="110000"/>
                    </a:lnSpc>
                    <a:spcBef>
                      <a:spcPct val="0"/>
                    </a:spcBef>
                    <a:spcAft>
                      <a:spcPct val="0"/>
                    </a:spcAft>
                    <a:defRPr sz="5400" b="1" kern="1200">
                      <a:solidFill>
                        <a:schemeClr val="tx1"/>
                      </a:solidFill>
                      <a:latin typeface="Arial" pitchFamily="34" charset="0"/>
                      <a:ea typeface="ＭＳ Ｐゴシック" pitchFamily="34" charset="-128"/>
                      <a:cs typeface="+mn-cs"/>
                    </a:defRPr>
                  </a:lvl1pPr>
                  <a:lvl2pPr marL="457200" algn="l" rtl="0" eaLnBrk="0" fontAlgn="base" hangingPunct="0">
                    <a:lnSpc>
                      <a:spcPct val="110000"/>
                    </a:lnSpc>
                    <a:spcBef>
                      <a:spcPct val="0"/>
                    </a:spcBef>
                    <a:spcAft>
                      <a:spcPct val="0"/>
                    </a:spcAft>
                    <a:defRPr sz="5400" b="1" kern="1200">
                      <a:solidFill>
                        <a:schemeClr val="tx1"/>
                      </a:solidFill>
                      <a:latin typeface="Arial" pitchFamily="34" charset="0"/>
                      <a:ea typeface="ＭＳ Ｐゴシック" pitchFamily="34" charset="-128"/>
                      <a:cs typeface="+mn-cs"/>
                    </a:defRPr>
                  </a:lvl2pPr>
                  <a:lvl3pPr marL="914400" algn="l" rtl="0" eaLnBrk="0" fontAlgn="base" hangingPunct="0">
                    <a:lnSpc>
                      <a:spcPct val="110000"/>
                    </a:lnSpc>
                    <a:spcBef>
                      <a:spcPct val="0"/>
                    </a:spcBef>
                    <a:spcAft>
                      <a:spcPct val="0"/>
                    </a:spcAft>
                    <a:defRPr sz="5400" b="1" kern="1200">
                      <a:solidFill>
                        <a:schemeClr val="tx1"/>
                      </a:solidFill>
                      <a:latin typeface="Arial" pitchFamily="34" charset="0"/>
                      <a:ea typeface="ＭＳ Ｐゴシック" pitchFamily="34" charset="-128"/>
                      <a:cs typeface="+mn-cs"/>
                    </a:defRPr>
                  </a:lvl3pPr>
                  <a:lvl4pPr marL="1371600" algn="l" rtl="0" eaLnBrk="0" fontAlgn="base" hangingPunct="0">
                    <a:lnSpc>
                      <a:spcPct val="110000"/>
                    </a:lnSpc>
                    <a:spcBef>
                      <a:spcPct val="0"/>
                    </a:spcBef>
                    <a:spcAft>
                      <a:spcPct val="0"/>
                    </a:spcAft>
                    <a:defRPr sz="5400" b="1" kern="1200">
                      <a:solidFill>
                        <a:schemeClr val="tx1"/>
                      </a:solidFill>
                      <a:latin typeface="Arial" pitchFamily="34" charset="0"/>
                      <a:ea typeface="ＭＳ Ｐゴシック" pitchFamily="34" charset="-128"/>
                      <a:cs typeface="+mn-cs"/>
                    </a:defRPr>
                  </a:lvl4pPr>
                  <a:lvl5pPr marL="1828800" algn="l" rtl="0" eaLnBrk="0" fontAlgn="base" hangingPunct="0">
                    <a:lnSpc>
                      <a:spcPct val="110000"/>
                    </a:lnSpc>
                    <a:spcBef>
                      <a:spcPct val="0"/>
                    </a:spcBef>
                    <a:spcAft>
                      <a:spcPct val="0"/>
                    </a:spcAft>
                    <a:defRPr sz="5400" b="1" kern="1200">
                      <a:solidFill>
                        <a:schemeClr val="tx1"/>
                      </a:solidFill>
                      <a:latin typeface="Arial" pitchFamily="34" charset="0"/>
                      <a:ea typeface="ＭＳ Ｐゴシック" pitchFamily="34" charset="-128"/>
                      <a:cs typeface="+mn-cs"/>
                    </a:defRPr>
                  </a:lvl5pPr>
                  <a:lvl6pPr marL="2286000" algn="l" defTabSz="914400" rtl="0" eaLnBrk="1" latinLnBrk="0" hangingPunct="1">
                    <a:defRPr sz="5400" b="1" kern="1200">
                      <a:solidFill>
                        <a:schemeClr val="tx1"/>
                      </a:solidFill>
                      <a:latin typeface="Arial" pitchFamily="34" charset="0"/>
                      <a:ea typeface="ＭＳ Ｐゴシック" pitchFamily="34" charset="-128"/>
                      <a:cs typeface="+mn-cs"/>
                    </a:defRPr>
                  </a:lvl6pPr>
                  <a:lvl7pPr marL="2743200" algn="l" defTabSz="914400" rtl="0" eaLnBrk="1" latinLnBrk="0" hangingPunct="1">
                    <a:defRPr sz="5400" b="1" kern="1200">
                      <a:solidFill>
                        <a:schemeClr val="tx1"/>
                      </a:solidFill>
                      <a:latin typeface="Arial" pitchFamily="34" charset="0"/>
                      <a:ea typeface="ＭＳ Ｐゴシック" pitchFamily="34" charset="-128"/>
                      <a:cs typeface="+mn-cs"/>
                    </a:defRPr>
                  </a:lvl7pPr>
                  <a:lvl8pPr marL="3200400" algn="l" defTabSz="914400" rtl="0" eaLnBrk="1" latinLnBrk="0" hangingPunct="1">
                    <a:defRPr sz="5400" b="1" kern="1200">
                      <a:solidFill>
                        <a:schemeClr val="tx1"/>
                      </a:solidFill>
                      <a:latin typeface="Arial" pitchFamily="34" charset="0"/>
                      <a:ea typeface="ＭＳ Ｐゴシック" pitchFamily="34" charset="-128"/>
                      <a:cs typeface="+mn-cs"/>
                    </a:defRPr>
                  </a:lvl8pPr>
                  <a:lvl9pPr marL="3657600" algn="l" defTabSz="914400" rtl="0" eaLnBrk="1" latinLnBrk="0" hangingPunct="1">
                    <a:defRPr sz="5400" b="1" kern="1200">
                      <a:solidFill>
                        <a:schemeClr val="tx1"/>
                      </a:solidFill>
                      <a:latin typeface="Arial" pitchFamily="34" charset="0"/>
                      <a:ea typeface="ＭＳ Ｐゴシック" pitchFamily="34" charset="-128"/>
                      <a:cs typeface="+mn-cs"/>
                    </a:defRPr>
                  </a:lvl9pPr>
                </a:lstStyle>
                <a:p>
                  <a:pPr>
                    <a:defRPr/>
                  </a:pPr>
                  <a:endParaRPr lang="en-US" sz="1800" dirty="0">
                    <a:solidFill>
                      <a:srgbClr val="000000"/>
                    </a:solidFill>
                    <a:latin typeface="Honeywell Sans" panose="02010503040101060203" pitchFamily="50" charset="0"/>
                  </a:endParaRPr>
                </a:p>
              </p:txBody>
            </p:sp>
          </p:grpSp>
          <p:sp>
            <p:nvSpPr>
              <p:cNvPr id="398" name="Rounded Rectangle 397"/>
              <p:cNvSpPr/>
              <p:nvPr/>
            </p:nvSpPr>
            <p:spPr bwMode="auto">
              <a:xfrm flipH="1">
                <a:off x="2293764" y="1948649"/>
                <a:ext cx="41179" cy="166221"/>
              </a:xfrm>
              <a:prstGeom prst="roundRect">
                <a:avLst/>
              </a:pr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12699" cap="flat" cmpd="sng" algn="ctr">
                    <a:solidFill>
                      <a:schemeClr val="tx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none" lIns="90488" tIns="44450" rIns="90488" bIns="44450" numCol="1" rtlCol="0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defRPr/>
                </a:pPr>
                <a:endParaRPr lang="en-US" b="1" kern="0" dirty="0">
                  <a:solidFill>
                    <a:srgbClr val="000000"/>
                  </a:solidFill>
                  <a:latin typeface="Honeywell Sans" panose="02010503040101060203" pitchFamily="50" charset="0"/>
                  <a:cs typeface="Arial" pitchFamily="34" charset="0"/>
                </a:endParaRPr>
              </a:p>
            </p:txBody>
          </p:sp>
          <p:sp>
            <p:nvSpPr>
              <p:cNvPr id="399" name="Rounded Rectangle 398"/>
              <p:cNvSpPr/>
              <p:nvPr/>
            </p:nvSpPr>
            <p:spPr bwMode="auto">
              <a:xfrm flipH="1">
                <a:off x="2262879" y="1900389"/>
                <a:ext cx="102949" cy="61770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12699" cap="flat" cmpd="sng" algn="ctr">
                    <a:solidFill>
                      <a:schemeClr val="tx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none" lIns="90488" tIns="44450" rIns="90488" bIns="44450" numCol="1" rtlCol="0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defRPr/>
                </a:pPr>
                <a:endParaRPr lang="en-US" b="1" kern="0" dirty="0">
                  <a:solidFill>
                    <a:srgbClr val="000000"/>
                  </a:solidFill>
                  <a:latin typeface="Honeywell Sans" panose="02010503040101060203" pitchFamily="50" charset="0"/>
                  <a:cs typeface="Arial" pitchFamily="34" charset="0"/>
                </a:endParaRPr>
              </a:p>
            </p:txBody>
          </p:sp>
          <p:sp>
            <p:nvSpPr>
              <p:cNvPr id="400" name="Rectangle 399"/>
              <p:cNvSpPr/>
              <p:nvPr/>
            </p:nvSpPr>
            <p:spPr bwMode="auto">
              <a:xfrm>
                <a:off x="2301925" y="1697326"/>
                <a:ext cx="21739" cy="205899"/>
              </a:xfrm>
              <a:prstGeom prst="rect">
                <a:avLst/>
              </a:pr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12699" cap="flat" cmpd="sng" algn="ctr">
                    <a:solidFill>
                      <a:schemeClr val="tx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none" lIns="90488" tIns="44450" rIns="90488" bIns="44450" numCol="1" rtlCol="0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defRPr/>
                </a:pPr>
                <a:endParaRPr lang="en-US" b="1" kern="0" dirty="0">
                  <a:solidFill>
                    <a:srgbClr val="000000"/>
                  </a:solidFill>
                  <a:latin typeface="Honeywell Sans" panose="02010503040101060203" pitchFamily="50" charset="0"/>
                  <a:cs typeface="Arial" pitchFamily="34" charset="0"/>
                </a:endParaRPr>
              </a:p>
            </p:txBody>
          </p:sp>
          <p:sp>
            <p:nvSpPr>
              <p:cNvPr id="401" name="Rectangle 400"/>
              <p:cNvSpPr/>
              <p:nvPr/>
            </p:nvSpPr>
            <p:spPr bwMode="auto">
              <a:xfrm rot="5400000">
                <a:off x="2098383" y="1659999"/>
                <a:ext cx="21739" cy="411798"/>
              </a:xfrm>
              <a:prstGeom prst="rect">
                <a:avLst/>
              </a:pr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12699" cap="flat" cmpd="sng" algn="ctr">
                    <a:solidFill>
                      <a:schemeClr val="tx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none" lIns="90488" tIns="44450" rIns="90488" bIns="44450" numCol="1" rtlCol="0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defRPr/>
                </a:pPr>
                <a:endParaRPr lang="en-US" b="1" kern="0" dirty="0">
                  <a:solidFill>
                    <a:srgbClr val="000000"/>
                  </a:solidFill>
                  <a:latin typeface="Honeywell Sans" panose="02010503040101060203" pitchFamily="50" charset="0"/>
                  <a:cs typeface="Arial" pitchFamily="34" charset="0"/>
                </a:endParaRPr>
              </a:p>
            </p:txBody>
          </p:sp>
          <p:sp>
            <p:nvSpPr>
              <p:cNvPr id="402" name="Bent-Up Arrow 401"/>
              <p:cNvSpPr/>
              <p:nvPr/>
            </p:nvSpPr>
            <p:spPr bwMode="auto">
              <a:xfrm rot="5400000" flipH="1">
                <a:off x="2194089" y="1737862"/>
                <a:ext cx="140010" cy="120439"/>
              </a:xfrm>
              <a:prstGeom prst="bentUpArrow">
                <a:avLst>
                  <a:gd name="adj1" fmla="val 17734"/>
                  <a:gd name="adj2" fmla="val 25000"/>
                  <a:gd name="adj3" fmla="val 559"/>
                </a:avLst>
              </a:pr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12699" cap="flat" cmpd="sng" algn="ctr">
                    <a:solidFill>
                      <a:schemeClr val="tx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none" lIns="90488" tIns="44450" rIns="90488" bIns="44450" numCol="1" rtlCol="0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defRPr/>
                </a:pPr>
                <a:endParaRPr lang="en-US" b="1" kern="0" dirty="0">
                  <a:solidFill>
                    <a:srgbClr val="000000"/>
                  </a:solidFill>
                  <a:latin typeface="Honeywell Sans" panose="02010503040101060203" pitchFamily="50" charset="0"/>
                  <a:cs typeface="Arial" pitchFamily="34" charset="0"/>
                </a:endParaRPr>
              </a:p>
            </p:txBody>
          </p:sp>
          <p:sp>
            <p:nvSpPr>
              <p:cNvPr id="403" name="Oval 402"/>
              <p:cNvSpPr/>
              <p:nvPr/>
            </p:nvSpPr>
            <p:spPr bwMode="auto">
              <a:xfrm flipH="1">
                <a:off x="2195210" y="1845698"/>
                <a:ext cx="41179" cy="41179"/>
              </a:xfrm>
              <a:prstGeom prst="ellipse">
                <a:avLst/>
              </a:pr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12699" cap="flat" cmpd="sng" algn="ctr">
                    <a:solidFill>
                      <a:schemeClr val="tx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none" lIns="90488" tIns="44450" rIns="90488" bIns="44450" numCol="1" rtlCol="0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defRPr/>
                </a:pPr>
                <a:endParaRPr lang="en-US" b="1" kern="0" dirty="0">
                  <a:solidFill>
                    <a:srgbClr val="000000"/>
                  </a:solidFill>
                  <a:latin typeface="Honeywell Sans" panose="02010503040101060203" pitchFamily="50" charset="0"/>
                  <a:cs typeface="Arial" pitchFamily="34" charset="0"/>
                </a:endParaRPr>
              </a:p>
            </p:txBody>
          </p:sp>
          <p:sp>
            <p:nvSpPr>
              <p:cNvPr id="404" name="Rectangle 403"/>
              <p:cNvSpPr/>
              <p:nvPr/>
            </p:nvSpPr>
            <p:spPr bwMode="auto">
              <a:xfrm rot="5400000">
                <a:off x="2098383" y="1826218"/>
                <a:ext cx="21739" cy="411798"/>
              </a:xfrm>
              <a:prstGeom prst="rect">
                <a:avLst/>
              </a:pr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12699" cap="flat" cmpd="sng" algn="ctr">
                    <a:solidFill>
                      <a:schemeClr val="tx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none" lIns="90488" tIns="44450" rIns="90488" bIns="44450" numCol="1" rtlCol="0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defRPr/>
                </a:pPr>
                <a:endParaRPr lang="en-US" b="1" kern="0" dirty="0">
                  <a:solidFill>
                    <a:srgbClr val="000000"/>
                  </a:solidFill>
                  <a:latin typeface="Honeywell Sans" panose="02010503040101060203" pitchFamily="50" charset="0"/>
                  <a:cs typeface="Arial" pitchFamily="34" charset="0"/>
                </a:endParaRPr>
              </a:p>
            </p:txBody>
          </p:sp>
          <p:sp>
            <p:nvSpPr>
              <p:cNvPr id="405" name="Rounded Rectangle 404"/>
              <p:cNvSpPr/>
              <p:nvPr/>
            </p:nvSpPr>
            <p:spPr bwMode="auto">
              <a:xfrm rot="5400000" flipH="1">
                <a:off x="1984058" y="1825323"/>
                <a:ext cx="102949" cy="61770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12699" cap="flat" cmpd="sng" algn="ctr">
                    <a:solidFill>
                      <a:schemeClr val="tx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none" lIns="90488" tIns="44450" rIns="90488" bIns="44450" numCol="1" rtlCol="0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defRPr/>
                </a:pPr>
                <a:endParaRPr lang="en-US" b="1" kern="0" dirty="0">
                  <a:solidFill>
                    <a:srgbClr val="000000"/>
                  </a:solidFill>
                  <a:latin typeface="Honeywell Sans" panose="02010503040101060203" pitchFamily="50" charset="0"/>
                  <a:cs typeface="Arial" pitchFamily="34" charset="0"/>
                </a:endParaRPr>
              </a:p>
            </p:txBody>
          </p:sp>
          <p:sp>
            <p:nvSpPr>
              <p:cNvPr id="406" name="Rounded Rectangle 405"/>
              <p:cNvSpPr/>
              <p:nvPr/>
            </p:nvSpPr>
            <p:spPr bwMode="auto">
              <a:xfrm rot="5400000" flipH="1">
                <a:off x="2112744" y="1991544"/>
                <a:ext cx="102949" cy="61770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12699" cap="flat" cmpd="sng" algn="ctr">
                    <a:solidFill>
                      <a:schemeClr val="tx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none" lIns="90488" tIns="44450" rIns="90488" bIns="44450" numCol="1" rtlCol="0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defRPr/>
                </a:pPr>
                <a:endParaRPr lang="en-US" b="1" kern="0" dirty="0">
                  <a:solidFill>
                    <a:srgbClr val="000000"/>
                  </a:solidFill>
                  <a:latin typeface="Honeywell Sans" panose="02010503040101060203" pitchFamily="50" charset="0"/>
                  <a:cs typeface="Arial" pitchFamily="34" charset="0"/>
                </a:endParaRPr>
              </a:p>
            </p:txBody>
          </p:sp>
          <p:cxnSp>
            <p:nvCxnSpPr>
              <p:cNvPr id="407" name="Straight Connector 406"/>
              <p:cNvCxnSpPr/>
              <p:nvPr/>
            </p:nvCxnSpPr>
            <p:spPr bwMode="auto">
              <a:xfrm flipH="1">
                <a:off x="334385" y="2058626"/>
                <a:ext cx="1266348" cy="0"/>
              </a:xfrm>
              <a:prstGeom prst="line">
                <a:avLst/>
              </a:prstGeom>
              <a:grpFill/>
              <a:ln w="28575" cap="rnd">
                <a:solidFill>
                  <a:schemeClr val="tx1">
                    <a:lumMod val="65000"/>
                    <a:lumOff val="35000"/>
                  </a:schemeClr>
                </a:solidFill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grpSp>
          <p:nvGrpSpPr>
            <p:cNvPr id="333" name="Group 332"/>
            <p:cNvGrpSpPr/>
            <p:nvPr/>
          </p:nvGrpSpPr>
          <p:grpSpPr>
            <a:xfrm>
              <a:off x="3727661" y="5685933"/>
              <a:ext cx="1215340" cy="461361"/>
              <a:chOff x="3727661" y="5685933"/>
              <a:chExt cx="1215340" cy="461361"/>
            </a:xfrm>
          </p:grpSpPr>
          <p:sp>
            <p:nvSpPr>
              <p:cNvPr id="377" name="Freeform 88"/>
              <p:cNvSpPr>
                <a:spLocks noEditPoints="1"/>
              </p:cNvSpPr>
              <p:nvPr/>
            </p:nvSpPr>
            <p:spPr bwMode="auto">
              <a:xfrm>
                <a:off x="4434415" y="5685933"/>
                <a:ext cx="505350" cy="454305"/>
              </a:xfrm>
              <a:custGeom>
                <a:avLst/>
                <a:gdLst/>
                <a:ahLst/>
                <a:cxnLst>
                  <a:cxn ang="0">
                    <a:pos x="391" y="261"/>
                  </a:cxn>
                  <a:cxn ang="0">
                    <a:pos x="391" y="198"/>
                  </a:cxn>
                  <a:cxn ang="0">
                    <a:pos x="329" y="153"/>
                  </a:cxn>
                  <a:cxn ang="0">
                    <a:pos x="328" y="14"/>
                  </a:cxn>
                  <a:cxn ang="0">
                    <a:pos x="294" y="0"/>
                  </a:cxn>
                  <a:cxn ang="0">
                    <a:pos x="291" y="14"/>
                  </a:cxn>
                  <a:cxn ang="0">
                    <a:pos x="157" y="153"/>
                  </a:cxn>
                  <a:cxn ang="0">
                    <a:pos x="76" y="206"/>
                  </a:cxn>
                  <a:cxn ang="0">
                    <a:pos x="27" y="360"/>
                  </a:cxn>
                  <a:cxn ang="0">
                    <a:pos x="0" y="400"/>
                  </a:cxn>
                  <a:cxn ang="0">
                    <a:pos x="333" y="166"/>
                  </a:cxn>
                  <a:cxn ang="0">
                    <a:pos x="333" y="166"/>
                  </a:cxn>
                  <a:cxn ang="0">
                    <a:pos x="282" y="179"/>
                  </a:cxn>
                  <a:cxn ang="0">
                    <a:pos x="256" y="191"/>
                  </a:cxn>
                  <a:cxn ang="0">
                    <a:pos x="230" y="179"/>
                  </a:cxn>
                  <a:cxn ang="0">
                    <a:pos x="180" y="166"/>
                  </a:cxn>
                  <a:cxn ang="0">
                    <a:pos x="180" y="166"/>
                  </a:cxn>
                  <a:cxn ang="0">
                    <a:pos x="124" y="243"/>
                  </a:cxn>
                  <a:cxn ang="0">
                    <a:pos x="175" y="381"/>
                  </a:cxn>
                  <a:cxn ang="0">
                    <a:pos x="187" y="311"/>
                  </a:cxn>
                  <a:cxn ang="0">
                    <a:pos x="187" y="311"/>
                  </a:cxn>
                  <a:cxn ang="0">
                    <a:pos x="211" y="340"/>
                  </a:cxn>
                  <a:cxn ang="0">
                    <a:pos x="191" y="270"/>
                  </a:cxn>
                  <a:cxn ang="0">
                    <a:pos x="215" y="381"/>
                  </a:cxn>
                  <a:cxn ang="0">
                    <a:pos x="234" y="311"/>
                  </a:cxn>
                  <a:cxn ang="0">
                    <a:pos x="234" y="311"/>
                  </a:cxn>
                  <a:cxn ang="0">
                    <a:pos x="257" y="340"/>
                  </a:cxn>
                  <a:cxn ang="0">
                    <a:pos x="238" y="270"/>
                  </a:cxn>
                  <a:cxn ang="0">
                    <a:pos x="261" y="381"/>
                  </a:cxn>
                  <a:cxn ang="0">
                    <a:pos x="280" y="311"/>
                  </a:cxn>
                  <a:cxn ang="0">
                    <a:pos x="280" y="311"/>
                  </a:cxn>
                  <a:cxn ang="0">
                    <a:pos x="304" y="340"/>
                  </a:cxn>
                  <a:cxn ang="0">
                    <a:pos x="284" y="270"/>
                  </a:cxn>
                  <a:cxn ang="0">
                    <a:pos x="308" y="381"/>
                  </a:cxn>
                  <a:cxn ang="0">
                    <a:pos x="327" y="311"/>
                  </a:cxn>
                  <a:cxn ang="0">
                    <a:pos x="327" y="311"/>
                  </a:cxn>
                  <a:cxn ang="0">
                    <a:pos x="344" y="340"/>
                  </a:cxn>
                  <a:cxn ang="0">
                    <a:pos x="331" y="270"/>
                  </a:cxn>
                  <a:cxn ang="0">
                    <a:pos x="375" y="381"/>
                  </a:cxn>
                  <a:cxn ang="0">
                    <a:pos x="380" y="381"/>
                  </a:cxn>
                  <a:cxn ang="0">
                    <a:pos x="367" y="299"/>
                  </a:cxn>
                  <a:cxn ang="0">
                    <a:pos x="157" y="226"/>
                  </a:cxn>
                  <a:cxn ang="0">
                    <a:pos x="137" y="360"/>
                  </a:cxn>
                  <a:cxn ang="0">
                    <a:pos x="87" y="208"/>
                  </a:cxn>
                  <a:cxn ang="0">
                    <a:pos x="87" y="188"/>
                  </a:cxn>
                  <a:cxn ang="0">
                    <a:pos x="356" y="221"/>
                  </a:cxn>
                  <a:cxn ang="0">
                    <a:pos x="384" y="198"/>
                  </a:cxn>
                  <a:cxn ang="0">
                    <a:pos x="380" y="255"/>
                  </a:cxn>
                </a:cxnLst>
                <a:rect l="0" t="0" r="r" b="b"/>
                <a:pathLst>
                  <a:path w="445" h="400">
                    <a:moveTo>
                      <a:pt x="409" y="381"/>
                    </a:moveTo>
                    <a:cubicBezTo>
                      <a:pt x="409" y="299"/>
                      <a:pt x="409" y="299"/>
                      <a:pt x="409" y="299"/>
                    </a:cubicBezTo>
                    <a:cubicBezTo>
                      <a:pt x="405" y="285"/>
                      <a:pt x="398" y="275"/>
                      <a:pt x="391" y="273"/>
                    </a:cubicBezTo>
                    <a:cubicBezTo>
                      <a:pt x="391" y="261"/>
                      <a:pt x="391" y="261"/>
                      <a:pt x="391" y="261"/>
                    </a:cubicBezTo>
                    <a:cubicBezTo>
                      <a:pt x="393" y="261"/>
                      <a:pt x="394" y="258"/>
                      <a:pt x="394" y="255"/>
                    </a:cubicBezTo>
                    <a:cubicBezTo>
                      <a:pt x="394" y="251"/>
                      <a:pt x="394" y="251"/>
                      <a:pt x="394" y="251"/>
                    </a:cubicBezTo>
                    <a:cubicBezTo>
                      <a:pt x="394" y="248"/>
                      <a:pt x="393" y="245"/>
                      <a:pt x="391" y="245"/>
                    </a:cubicBezTo>
                    <a:cubicBezTo>
                      <a:pt x="391" y="198"/>
                      <a:pt x="391" y="198"/>
                      <a:pt x="391" y="198"/>
                    </a:cubicBezTo>
                    <a:cubicBezTo>
                      <a:pt x="391" y="187"/>
                      <a:pt x="383" y="177"/>
                      <a:pt x="372" y="177"/>
                    </a:cubicBezTo>
                    <a:cubicBezTo>
                      <a:pt x="356" y="177"/>
                      <a:pt x="356" y="177"/>
                      <a:pt x="356" y="177"/>
                    </a:cubicBezTo>
                    <a:cubicBezTo>
                      <a:pt x="356" y="153"/>
                      <a:pt x="356" y="153"/>
                      <a:pt x="356" y="153"/>
                    </a:cubicBezTo>
                    <a:cubicBezTo>
                      <a:pt x="329" y="153"/>
                      <a:pt x="329" y="153"/>
                      <a:pt x="329" y="153"/>
                    </a:cubicBezTo>
                    <a:cubicBezTo>
                      <a:pt x="323" y="17"/>
                      <a:pt x="323" y="17"/>
                      <a:pt x="323" y="17"/>
                    </a:cubicBezTo>
                    <a:cubicBezTo>
                      <a:pt x="326" y="17"/>
                      <a:pt x="326" y="17"/>
                      <a:pt x="326" y="17"/>
                    </a:cubicBezTo>
                    <a:cubicBezTo>
                      <a:pt x="326" y="14"/>
                      <a:pt x="326" y="14"/>
                      <a:pt x="326" y="14"/>
                    </a:cubicBezTo>
                    <a:cubicBezTo>
                      <a:pt x="328" y="14"/>
                      <a:pt x="328" y="14"/>
                      <a:pt x="328" y="14"/>
                    </a:cubicBezTo>
                    <a:cubicBezTo>
                      <a:pt x="328" y="3"/>
                      <a:pt x="328" y="3"/>
                      <a:pt x="328" y="3"/>
                    </a:cubicBezTo>
                    <a:cubicBezTo>
                      <a:pt x="322" y="3"/>
                      <a:pt x="322" y="3"/>
                      <a:pt x="322" y="3"/>
                    </a:cubicBezTo>
                    <a:cubicBezTo>
                      <a:pt x="322" y="0"/>
                      <a:pt x="322" y="0"/>
                      <a:pt x="322" y="0"/>
                    </a:cubicBezTo>
                    <a:cubicBezTo>
                      <a:pt x="294" y="0"/>
                      <a:pt x="294" y="0"/>
                      <a:pt x="294" y="0"/>
                    </a:cubicBezTo>
                    <a:cubicBezTo>
                      <a:pt x="294" y="3"/>
                      <a:pt x="294" y="3"/>
                      <a:pt x="294" y="3"/>
                    </a:cubicBezTo>
                    <a:cubicBezTo>
                      <a:pt x="288" y="3"/>
                      <a:pt x="288" y="3"/>
                      <a:pt x="288" y="3"/>
                    </a:cubicBezTo>
                    <a:cubicBezTo>
                      <a:pt x="288" y="14"/>
                      <a:pt x="288" y="14"/>
                      <a:pt x="288" y="14"/>
                    </a:cubicBezTo>
                    <a:cubicBezTo>
                      <a:pt x="291" y="14"/>
                      <a:pt x="291" y="14"/>
                      <a:pt x="291" y="14"/>
                    </a:cubicBezTo>
                    <a:cubicBezTo>
                      <a:pt x="291" y="17"/>
                      <a:pt x="291" y="17"/>
                      <a:pt x="291" y="17"/>
                    </a:cubicBezTo>
                    <a:cubicBezTo>
                      <a:pt x="295" y="17"/>
                      <a:pt x="295" y="17"/>
                      <a:pt x="295" y="17"/>
                    </a:cubicBezTo>
                    <a:cubicBezTo>
                      <a:pt x="290" y="153"/>
                      <a:pt x="290" y="153"/>
                      <a:pt x="290" y="153"/>
                    </a:cubicBezTo>
                    <a:cubicBezTo>
                      <a:pt x="157" y="153"/>
                      <a:pt x="157" y="153"/>
                      <a:pt x="157" y="153"/>
                    </a:cubicBezTo>
                    <a:cubicBezTo>
                      <a:pt x="157" y="176"/>
                      <a:pt x="157" y="176"/>
                      <a:pt x="157" y="176"/>
                    </a:cubicBezTo>
                    <a:cubicBezTo>
                      <a:pt x="95" y="176"/>
                      <a:pt x="95" y="176"/>
                      <a:pt x="95" y="176"/>
                    </a:cubicBezTo>
                    <a:cubicBezTo>
                      <a:pt x="84" y="177"/>
                      <a:pt x="76" y="187"/>
                      <a:pt x="76" y="198"/>
                    </a:cubicBezTo>
                    <a:cubicBezTo>
                      <a:pt x="76" y="206"/>
                      <a:pt x="76" y="206"/>
                      <a:pt x="76" y="206"/>
                    </a:cubicBezTo>
                    <a:cubicBezTo>
                      <a:pt x="74" y="207"/>
                      <a:pt x="73" y="209"/>
                      <a:pt x="73" y="211"/>
                    </a:cubicBezTo>
                    <a:cubicBezTo>
                      <a:pt x="73" y="212"/>
                      <a:pt x="73" y="212"/>
                      <a:pt x="73" y="212"/>
                    </a:cubicBezTo>
                    <a:cubicBezTo>
                      <a:pt x="48" y="217"/>
                      <a:pt x="27" y="243"/>
                      <a:pt x="27" y="243"/>
                    </a:cubicBezTo>
                    <a:cubicBezTo>
                      <a:pt x="27" y="360"/>
                      <a:pt x="27" y="360"/>
                      <a:pt x="27" y="360"/>
                    </a:cubicBezTo>
                    <a:cubicBezTo>
                      <a:pt x="19" y="360"/>
                      <a:pt x="19" y="360"/>
                      <a:pt x="19" y="360"/>
                    </a:cubicBezTo>
                    <a:cubicBezTo>
                      <a:pt x="19" y="381"/>
                      <a:pt x="19" y="381"/>
                      <a:pt x="19" y="381"/>
                    </a:cubicBezTo>
                    <a:cubicBezTo>
                      <a:pt x="0" y="381"/>
                      <a:pt x="0" y="381"/>
                      <a:pt x="0" y="381"/>
                    </a:cubicBezTo>
                    <a:cubicBezTo>
                      <a:pt x="0" y="400"/>
                      <a:pt x="0" y="400"/>
                      <a:pt x="0" y="400"/>
                    </a:cubicBezTo>
                    <a:cubicBezTo>
                      <a:pt x="445" y="400"/>
                      <a:pt x="445" y="400"/>
                      <a:pt x="445" y="400"/>
                    </a:cubicBezTo>
                    <a:cubicBezTo>
                      <a:pt x="445" y="381"/>
                      <a:pt x="445" y="381"/>
                      <a:pt x="445" y="381"/>
                    </a:cubicBezTo>
                    <a:lnTo>
                      <a:pt x="409" y="381"/>
                    </a:lnTo>
                    <a:close/>
                    <a:moveTo>
                      <a:pt x="333" y="166"/>
                    </a:moveTo>
                    <a:cubicBezTo>
                      <a:pt x="340" y="166"/>
                      <a:pt x="345" y="172"/>
                      <a:pt x="345" y="179"/>
                    </a:cubicBezTo>
                    <a:cubicBezTo>
                      <a:pt x="345" y="185"/>
                      <a:pt x="340" y="191"/>
                      <a:pt x="333" y="191"/>
                    </a:cubicBezTo>
                    <a:cubicBezTo>
                      <a:pt x="326" y="191"/>
                      <a:pt x="321" y="185"/>
                      <a:pt x="321" y="179"/>
                    </a:cubicBezTo>
                    <a:cubicBezTo>
                      <a:pt x="321" y="172"/>
                      <a:pt x="326" y="166"/>
                      <a:pt x="333" y="166"/>
                    </a:cubicBezTo>
                    <a:close/>
                    <a:moveTo>
                      <a:pt x="295" y="166"/>
                    </a:moveTo>
                    <a:cubicBezTo>
                      <a:pt x="301" y="166"/>
                      <a:pt x="307" y="172"/>
                      <a:pt x="307" y="179"/>
                    </a:cubicBezTo>
                    <a:cubicBezTo>
                      <a:pt x="307" y="185"/>
                      <a:pt x="301" y="191"/>
                      <a:pt x="295" y="191"/>
                    </a:cubicBezTo>
                    <a:cubicBezTo>
                      <a:pt x="288" y="191"/>
                      <a:pt x="282" y="185"/>
                      <a:pt x="282" y="179"/>
                    </a:cubicBezTo>
                    <a:cubicBezTo>
                      <a:pt x="282" y="172"/>
                      <a:pt x="288" y="166"/>
                      <a:pt x="295" y="166"/>
                    </a:cubicBezTo>
                    <a:close/>
                    <a:moveTo>
                      <a:pt x="256" y="166"/>
                    </a:moveTo>
                    <a:cubicBezTo>
                      <a:pt x="263" y="166"/>
                      <a:pt x="268" y="172"/>
                      <a:pt x="268" y="179"/>
                    </a:cubicBezTo>
                    <a:cubicBezTo>
                      <a:pt x="268" y="185"/>
                      <a:pt x="263" y="191"/>
                      <a:pt x="256" y="191"/>
                    </a:cubicBezTo>
                    <a:cubicBezTo>
                      <a:pt x="249" y="191"/>
                      <a:pt x="244" y="185"/>
                      <a:pt x="244" y="179"/>
                    </a:cubicBezTo>
                    <a:cubicBezTo>
                      <a:pt x="244" y="172"/>
                      <a:pt x="249" y="166"/>
                      <a:pt x="256" y="166"/>
                    </a:cubicBezTo>
                    <a:close/>
                    <a:moveTo>
                      <a:pt x="218" y="166"/>
                    </a:moveTo>
                    <a:cubicBezTo>
                      <a:pt x="225" y="166"/>
                      <a:pt x="230" y="172"/>
                      <a:pt x="230" y="179"/>
                    </a:cubicBezTo>
                    <a:cubicBezTo>
                      <a:pt x="230" y="185"/>
                      <a:pt x="225" y="191"/>
                      <a:pt x="218" y="191"/>
                    </a:cubicBezTo>
                    <a:cubicBezTo>
                      <a:pt x="211" y="191"/>
                      <a:pt x="206" y="185"/>
                      <a:pt x="206" y="179"/>
                    </a:cubicBezTo>
                    <a:cubicBezTo>
                      <a:pt x="206" y="172"/>
                      <a:pt x="211" y="166"/>
                      <a:pt x="218" y="166"/>
                    </a:cubicBezTo>
                    <a:close/>
                    <a:moveTo>
                      <a:pt x="180" y="166"/>
                    </a:moveTo>
                    <a:cubicBezTo>
                      <a:pt x="186" y="166"/>
                      <a:pt x="192" y="172"/>
                      <a:pt x="192" y="179"/>
                    </a:cubicBezTo>
                    <a:cubicBezTo>
                      <a:pt x="192" y="185"/>
                      <a:pt x="186" y="191"/>
                      <a:pt x="180" y="191"/>
                    </a:cubicBezTo>
                    <a:cubicBezTo>
                      <a:pt x="173" y="191"/>
                      <a:pt x="167" y="185"/>
                      <a:pt x="167" y="179"/>
                    </a:cubicBezTo>
                    <a:cubicBezTo>
                      <a:pt x="167" y="172"/>
                      <a:pt x="173" y="166"/>
                      <a:pt x="180" y="166"/>
                    </a:cubicBezTo>
                    <a:close/>
                    <a:moveTo>
                      <a:pt x="127" y="360"/>
                    </a:moveTo>
                    <a:cubicBezTo>
                      <a:pt x="121" y="360"/>
                      <a:pt x="121" y="360"/>
                      <a:pt x="121" y="360"/>
                    </a:cubicBezTo>
                    <a:cubicBezTo>
                      <a:pt x="121" y="247"/>
                      <a:pt x="121" y="247"/>
                      <a:pt x="121" y="247"/>
                    </a:cubicBezTo>
                    <a:cubicBezTo>
                      <a:pt x="121" y="245"/>
                      <a:pt x="122" y="243"/>
                      <a:pt x="124" y="243"/>
                    </a:cubicBezTo>
                    <a:cubicBezTo>
                      <a:pt x="126" y="243"/>
                      <a:pt x="127" y="245"/>
                      <a:pt x="127" y="247"/>
                    </a:cubicBezTo>
                    <a:lnTo>
                      <a:pt x="127" y="360"/>
                    </a:lnTo>
                    <a:close/>
                    <a:moveTo>
                      <a:pt x="187" y="381"/>
                    </a:moveTo>
                    <a:cubicBezTo>
                      <a:pt x="175" y="381"/>
                      <a:pt x="175" y="381"/>
                      <a:pt x="175" y="381"/>
                    </a:cubicBezTo>
                    <a:cubicBezTo>
                      <a:pt x="175" y="340"/>
                      <a:pt x="175" y="340"/>
                      <a:pt x="175" y="340"/>
                    </a:cubicBezTo>
                    <a:cubicBezTo>
                      <a:pt x="187" y="340"/>
                      <a:pt x="187" y="340"/>
                      <a:pt x="187" y="340"/>
                    </a:cubicBezTo>
                    <a:lnTo>
                      <a:pt x="187" y="381"/>
                    </a:lnTo>
                    <a:close/>
                    <a:moveTo>
                      <a:pt x="187" y="311"/>
                    </a:moveTo>
                    <a:cubicBezTo>
                      <a:pt x="175" y="311"/>
                      <a:pt x="175" y="311"/>
                      <a:pt x="175" y="311"/>
                    </a:cubicBezTo>
                    <a:cubicBezTo>
                      <a:pt x="175" y="270"/>
                      <a:pt x="175" y="270"/>
                      <a:pt x="175" y="270"/>
                    </a:cubicBezTo>
                    <a:cubicBezTo>
                      <a:pt x="187" y="270"/>
                      <a:pt x="187" y="270"/>
                      <a:pt x="187" y="270"/>
                    </a:cubicBezTo>
                    <a:lnTo>
                      <a:pt x="187" y="311"/>
                    </a:lnTo>
                    <a:close/>
                    <a:moveTo>
                      <a:pt x="211" y="381"/>
                    </a:moveTo>
                    <a:cubicBezTo>
                      <a:pt x="191" y="381"/>
                      <a:pt x="191" y="381"/>
                      <a:pt x="191" y="381"/>
                    </a:cubicBezTo>
                    <a:cubicBezTo>
                      <a:pt x="191" y="340"/>
                      <a:pt x="191" y="340"/>
                      <a:pt x="191" y="340"/>
                    </a:cubicBezTo>
                    <a:cubicBezTo>
                      <a:pt x="211" y="340"/>
                      <a:pt x="211" y="340"/>
                      <a:pt x="211" y="340"/>
                    </a:cubicBezTo>
                    <a:lnTo>
                      <a:pt x="211" y="381"/>
                    </a:lnTo>
                    <a:close/>
                    <a:moveTo>
                      <a:pt x="211" y="311"/>
                    </a:moveTo>
                    <a:cubicBezTo>
                      <a:pt x="191" y="311"/>
                      <a:pt x="191" y="311"/>
                      <a:pt x="191" y="311"/>
                    </a:cubicBezTo>
                    <a:cubicBezTo>
                      <a:pt x="191" y="270"/>
                      <a:pt x="191" y="270"/>
                      <a:pt x="191" y="270"/>
                    </a:cubicBezTo>
                    <a:cubicBezTo>
                      <a:pt x="211" y="270"/>
                      <a:pt x="211" y="270"/>
                      <a:pt x="211" y="270"/>
                    </a:cubicBezTo>
                    <a:lnTo>
                      <a:pt x="211" y="311"/>
                    </a:lnTo>
                    <a:close/>
                    <a:moveTo>
                      <a:pt x="234" y="381"/>
                    </a:moveTo>
                    <a:cubicBezTo>
                      <a:pt x="215" y="381"/>
                      <a:pt x="215" y="381"/>
                      <a:pt x="215" y="381"/>
                    </a:cubicBezTo>
                    <a:cubicBezTo>
                      <a:pt x="215" y="340"/>
                      <a:pt x="215" y="340"/>
                      <a:pt x="215" y="340"/>
                    </a:cubicBezTo>
                    <a:cubicBezTo>
                      <a:pt x="234" y="340"/>
                      <a:pt x="234" y="340"/>
                      <a:pt x="234" y="340"/>
                    </a:cubicBezTo>
                    <a:lnTo>
                      <a:pt x="234" y="381"/>
                    </a:lnTo>
                    <a:close/>
                    <a:moveTo>
                      <a:pt x="234" y="311"/>
                    </a:moveTo>
                    <a:cubicBezTo>
                      <a:pt x="215" y="311"/>
                      <a:pt x="215" y="311"/>
                      <a:pt x="215" y="311"/>
                    </a:cubicBezTo>
                    <a:cubicBezTo>
                      <a:pt x="215" y="270"/>
                      <a:pt x="215" y="270"/>
                      <a:pt x="215" y="270"/>
                    </a:cubicBezTo>
                    <a:cubicBezTo>
                      <a:pt x="234" y="270"/>
                      <a:pt x="234" y="270"/>
                      <a:pt x="234" y="270"/>
                    </a:cubicBezTo>
                    <a:lnTo>
                      <a:pt x="234" y="311"/>
                    </a:lnTo>
                    <a:close/>
                    <a:moveTo>
                      <a:pt x="257" y="381"/>
                    </a:moveTo>
                    <a:cubicBezTo>
                      <a:pt x="238" y="381"/>
                      <a:pt x="238" y="381"/>
                      <a:pt x="238" y="381"/>
                    </a:cubicBezTo>
                    <a:cubicBezTo>
                      <a:pt x="238" y="340"/>
                      <a:pt x="238" y="340"/>
                      <a:pt x="238" y="340"/>
                    </a:cubicBezTo>
                    <a:cubicBezTo>
                      <a:pt x="257" y="340"/>
                      <a:pt x="257" y="340"/>
                      <a:pt x="257" y="340"/>
                    </a:cubicBezTo>
                    <a:lnTo>
                      <a:pt x="257" y="381"/>
                    </a:lnTo>
                    <a:close/>
                    <a:moveTo>
                      <a:pt x="257" y="311"/>
                    </a:moveTo>
                    <a:cubicBezTo>
                      <a:pt x="238" y="311"/>
                      <a:pt x="238" y="311"/>
                      <a:pt x="238" y="311"/>
                    </a:cubicBezTo>
                    <a:cubicBezTo>
                      <a:pt x="238" y="270"/>
                      <a:pt x="238" y="270"/>
                      <a:pt x="238" y="270"/>
                    </a:cubicBezTo>
                    <a:cubicBezTo>
                      <a:pt x="257" y="270"/>
                      <a:pt x="257" y="270"/>
                      <a:pt x="257" y="270"/>
                    </a:cubicBezTo>
                    <a:lnTo>
                      <a:pt x="257" y="311"/>
                    </a:lnTo>
                    <a:close/>
                    <a:moveTo>
                      <a:pt x="280" y="381"/>
                    </a:moveTo>
                    <a:cubicBezTo>
                      <a:pt x="261" y="381"/>
                      <a:pt x="261" y="381"/>
                      <a:pt x="261" y="381"/>
                    </a:cubicBezTo>
                    <a:cubicBezTo>
                      <a:pt x="261" y="340"/>
                      <a:pt x="261" y="340"/>
                      <a:pt x="261" y="340"/>
                    </a:cubicBezTo>
                    <a:cubicBezTo>
                      <a:pt x="280" y="340"/>
                      <a:pt x="280" y="340"/>
                      <a:pt x="280" y="340"/>
                    </a:cubicBezTo>
                    <a:lnTo>
                      <a:pt x="280" y="381"/>
                    </a:lnTo>
                    <a:close/>
                    <a:moveTo>
                      <a:pt x="280" y="311"/>
                    </a:moveTo>
                    <a:cubicBezTo>
                      <a:pt x="261" y="311"/>
                      <a:pt x="261" y="311"/>
                      <a:pt x="261" y="311"/>
                    </a:cubicBezTo>
                    <a:cubicBezTo>
                      <a:pt x="261" y="270"/>
                      <a:pt x="261" y="270"/>
                      <a:pt x="261" y="270"/>
                    </a:cubicBezTo>
                    <a:cubicBezTo>
                      <a:pt x="280" y="270"/>
                      <a:pt x="280" y="270"/>
                      <a:pt x="280" y="270"/>
                    </a:cubicBezTo>
                    <a:lnTo>
                      <a:pt x="280" y="311"/>
                    </a:lnTo>
                    <a:close/>
                    <a:moveTo>
                      <a:pt x="304" y="381"/>
                    </a:moveTo>
                    <a:cubicBezTo>
                      <a:pt x="284" y="381"/>
                      <a:pt x="284" y="381"/>
                      <a:pt x="284" y="381"/>
                    </a:cubicBezTo>
                    <a:cubicBezTo>
                      <a:pt x="284" y="340"/>
                      <a:pt x="284" y="340"/>
                      <a:pt x="284" y="340"/>
                    </a:cubicBezTo>
                    <a:cubicBezTo>
                      <a:pt x="304" y="340"/>
                      <a:pt x="304" y="340"/>
                      <a:pt x="304" y="340"/>
                    </a:cubicBezTo>
                    <a:lnTo>
                      <a:pt x="304" y="381"/>
                    </a:lnTo>
                    <a:close/>
                    <a:moveTo>
                      <a:pt x="304" y="311"/>
                    </a:moveTo>
                    <a:cubicBezTo>
                      <a:pt x="284" y="311"/>
                      <a:pt x="284" y="311"/>
                      <a:pt x="284" y="311"/>
                    </a:cubicBezTo>
                    <a:cubicBezTo>
                      <a:pt x="284" y="270"/>
                      <a:pt x="284" y="270"/>
                      <a:pt x="284" y="270"/>
                    </a:cubicBezTo>
                    <a:cubicBezTo>
                      <a:pt x="304" y="270"/>
                      <a:pt x="304" y="270"/>
                      <a:pt x="304" y="270"/>
                    </a:cubicBezTo>
                    <a:lnTo>
                      <a:pt x="304" y="311"/>
                    </a:lnTo>
                    <a:close/>
                    <a:moveTo>
                      <a:pt x="327" y="381"/>
                    </a:moveTo>
                    <a:cubicBezTo>
                      <a:pt x="308" y="381"/>
                      <a:pt x="308" y="381"/>
                      <a:pt x="308" y="381"/>
                    </a:cubicBezTo>
                    <a:cubicBezTo>
                      <a:pt x="308" y="340"/>
                      <a:pt x="308" y="340"/>
                      <a:pt x="308" y="340"/>
                    </a:cubicBezTo>
                    <a:cubicBezTo>
                      <a:pt x="327" y="340"/>
                      <a:pt x="327" y="340"/>
                      <a:pt x="327" y="340"/>
                    </a:cubicBezTo>
                    <a:lnTo>
                      <a:pt x="327" y="381"/>
                    </a:lnTo>
                    <a:close/>
                    <a:moveTo>
                      <a:pt x="327" y="311"/>
                    </a:moveTo>
                    <a:cubicBezTo>
                      <a:pt x="308" y="311"/>
                      <a:pt x="308" y="311"/>
                      <a:pt x="308" y="311"/>
                    </a:cubicBezTo>
                    <a:cubicBezTo>
                      <a:pt x="308" y="270"/>
                      <a:pt x="308" y="270"/>
                      <a:pt x="308" y="270"/>
                    </a:cubicBezTo>
                    <a:cubicBezTo>
                      <a:pt x="327" y="270"/>
                      <a:pt x="327" y="270"/>
                      <a:pt x="327" y="270"/>
                    </a:cubicBezTo>
                    <a:lnTo>
                      <a:pt x="327" y="311"/>
                    </a:lnTo>
                    <a:close/>
                    <a:moveTo>
                      <a:pt x="344" y="381"/>
                    </a:moveTo>
                    <a:cubicBezTo>
                      <a:pt x="331" y="381"/>
                      <a:pt x="331" y="381"/>
                      <a:pt x="331" y="381"/>
                    </a:cubicBezTo>
                    <a:cubicBezTo>
                      <a:pt x="331" y="340"/>
                      <a:pt x="331" y="340"/>
                      <a:pt x="331" y="340"/>
                    </a:cubicBezTo>
                    <a:cubicBezTo>
                      <a:pt x="344" y="340"/>
                      <a:pt x="344" y="340"/>
                      <a:pt x="344" y="340"/>
                    </a:cubicBezTo>
                    <a:lnTo>
                      <a:pt x="344" y="381"/>
                    </a:lnTo>
                    <a:close/>
                    <a:moveTo>
                      <a:pt x="344" y="311"/>
                    </a:moveTo>
                    <a:cubicBezTo>
                      <a:pt x="331" y="311"/>
                      <a:pt x="331" y="311"/>
                      <a:pt x="331" y="311"/>
                    </a:cubicBezTo>
                    <a:cubicBezTo>
                      <a:pt x="331" y="270"/>
                      <a:pt x="331" y="270"/>
                      <a:pt x="331" y="270"/>
                    </a:cubicBezTo>
                    <a:cubicBezTo>
                      <a:pt x="344" y="270"/>
                      <a:pt x="344" y="270"/>
                      <a:pt x="344" y="270"/>
                    </a:cubicBezTo>
                    <a:lnTo>
                      <a:pt x="344" y="311"/>
                    </a:lnTo>
                    <a:close/>
                    <a:moveTo>
                      <a:pt x="380" y="381"/>
                    </a:moveTo>
                    <a:cubicBezTo>
                      <a:pt x="375" y="381"/>
                      <a:pt x="375" y="381"/>
                      <a:pt x="375" y="381"/>
                    </a:cubicBezTo>
                    <a:cubicBezTo>
                      <a:pt x="375" y="310"/>
                      <a:pt x="375" y="310"/>
                      <a:pt x="375" y="310"/>
                    </a:cubicBezTo>
                    <a:cubicBezTo>
                      <a:pt x="375" y="306"/>
                      <a:pt x="376" y="302"/>
                      <a:pt x="378" y="302"/>
                    </a:cubicBezTo>
                    <a:cubicBezTo>
                      <a:pt x="379" y="302"/>
                      <a:pt x="380" y="306"/>
                      <a:pt x="380" y="310"/>
                    </a:cubicBezTo>
                    <a:lnTo>
                      <a:pt x="380" y="381"/>
                    </a:lnTo>
                    <a:close/>
                    <a:moveTo>
                      <a:pt x="383" y="261"/>
                    </a:moveTo>
                    <a:cubicBezTo>
                      <a:pt x="384" y="261"/>
                      <a:pt x="384" y="261"/>
                      <a:pt x="384" y="261"/>
                    </a:cubicBezTo>
                    <a:cubicBezTo>
                      <a:pt x="384" y="273"/>
                      <a:pt x="384" y="273"/>
                      <a:pt x="384" y="273"/>
                    </a:cubicBezTo>
                    <a:cubicBezTo>
                      <a:pt x="377" y="276"/>
                      <a:pt x="371" y="286"/>
                      <a:pt x="367" y="299"/>
                    </a:cubicBezTo>
                    <a:cubicBezTo>
                      <a:pt x="367" y="381"/>
                      <a:pt x="367" y="381"/>
                      <a:pt x="367" y="381"/>
                    </a:cubicBezTo>
                    <a:cubicBezTo>
                      <a:pt x="356" y="381"/>
                      <a:pt x="356" y="381"/>
                      <a:pt x="356" y="381"/>
                    </a:cubicBezTo>
                    <a:cubicBezTo>
                      <a:pt x="356" y="226"/>
                      <a:pt x="356" y="226"/>
                      <a:pt x="356" y="226"/>
                    </a:cubicBezTo>
                    <a:cubicBezTo>
                      <a:pt x="157" y="226"/>
                      <a:pt x="157" y="226"/>
                      <a:pt x="157" y="226"/>
                    </a:cubicBezTo>
                    <a:cubicBezTo>
                      <a:pt x="157" y="381"/>
                      <a:pt x="157" y="381"/>
                      <a:pt x="157" y="381"/>
                    </a:cubicBezTo>
                    <a:cubicBezTo>
                      <a:pt x="145" y="381"/>
                      <a:pt x="145" y="381"/>
                      <a:pt x="145" y="381"/>
                    </a:cubicBezTo>
                    <a:cubicBezTo>
                      <a:pt x="145" y="360"/>
                      <a:pt x="145" y="360"/>
                      <a:pt x="145" y="360"/>
                    </a:cubicBezTo>
                    <a:cubicBezTo>
                      <a:pt x="137" y="360"/>
                      <a:pt x="137" y="360"/>
                      <a:pt x="137" y="360"/>
                    </a:cubicBezTo>
                    <a:cubicBezTo>
                      <a:pt x="137" y="243"/>
                      <a:pt x="137" y="243"/>
                      <a:pt x="137" y="243"/>
                    </a:cubicBezTo>
                    <a:cubicBezTo>
                      <a:pt x="137" y="243"/>
                      <a:pt x="116" y="214"/>
                      <a:pt x="88" y="211"/>
                    </a:cubicBezTo>
                    <a:cubicBezTo>
                      <a:pt x="88" y="210"/>
                      <a:pt x="88" y="210"/>
                      <a:pt x="87" y="209"/>
                    </a:cubicBezTo>
                    <a:cubicBezTo>
                      <a:pt x="87" y="208"/>
                      <a:pt x="87" y="208"/>
                      <a:pt x="87" y="208"/>
                    </a:cubicBezTo>
                    <a:cubicBezTo>
                      <a:pt x="87" y="208"/>
                      <a:pt x="87" y="208"/>
                      <a:pt x="87" y="208"/>
                    </a:cubicBezTo>
                    <a:cubicBezTo>
                      <a:pt x="86" y="207"/>
                      <a:pt x="85" y="206"/>
                      <a:pt x="83" y="205"/>
                    </a:cubicBezTo>
                    <a:cubicBezTo>
                      <a:pt x="83" y="198"/>
                      <a:pt x="83" y="198"/>
                      <a:pt x="83" y="198"/>
                    </a:cubicBezTo>
                    <a:cubicBezTo>
                      <a:pt x="83" y="194"/>
                      <a:pt x="85" y="190"/>
                      <a:pt x="87" y="188"/>
                    </a:cubicBezTo>
                    <a:cubicBezTo>
                      <a:pt x="89" y="185"/>
                      <a:pt x="92" y="184"/>
                      <a:pt x="95" y="184"/>
                    </a:cubicBezTo>
                    <a:cubicBezTo>
                      <a:pt x="157" y="184"/>
                      <a:pt x="157" y="184"/>
                      <a:pt x="157" y="184"/>
                    </a:cubicBezTo>
                    <a:cubicBezTo>
                      <a:pt x="157" y="221"/>
                      <a:pt x="157" y="221"/>
                      <a:pt x="157" y="221"/>
                    </a:cubicBezTo>
                    <a:cubicBezTo>
                      <a:pt x="356" y="221"/>
                      <a:pt x="356" y="221"/>
                      <a:pt x="356" y="221"/>
                    </a:cubicBezTo>
                    <a:cubicBezTo>
                      <a:pt x="356" y="184"/>
                      <a:pt x="356" y="184"/>
                      <a:pt x="356" y="184"/>
                    </a:cubicBezTo>
                    <a:cubicBezTo>
                      <a:pt x="372" y="184"/>
                      <a:pt x="372" y="184"/>
                      <a:pt x="372" y="184"/>
                    </a:cubicBezTo>
                    <a:cubicBezTo>
                      <a:pt x="375" y="184"/>
                      <a:pt x="378" y="185"/>
                      <a:pt x="380" y="188"/>
                    </a:cubicBezTo>
                    <a:cubicBezTo>
                      <a:pt x="382" y="190"/>
                      <a:pt x="384" y="194"/>
                      <a:pt x="384" y="198"/>
                    </a:cubicBezTo>
                    <a:cubicBezTo>
                      <a:pt x="384" y="245"/>
                      <a:pt x="384" y="245"/>
                      <a:pt x="384" y="245"/>
                    </a:cubicBezTo>
                    <a:cubicBezTo>
                      <a:pt x="383" y="245"/>
                      <a:pt x="383" y="245"/>
                      <a:pt x="383" y="245"/>
                    </a:cubicBezTo>
                    <a:cubicBezTo>
                      <a:pt x="381" y="245"/>
                      <a:pt x="380" y="248"/>
                      <a:pt x="380" y="251"/>
                    </a:cubicBezTo>
                    <a:cubicBezTo>
                      <a:pt x="380" y="255"/>
                      <a:pt x="380" y="255"/>
                      <a:pt x="380" y="255"/>
                    </a:cubicBezTo>
                    <a:cubicBezTo>
                      <a:pt x="380" y="258"/>
                      <a:pt x="381" y="261"/>
                      <a:pt x="383" y="261"/>
                    </a:cubicBez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GB" kern="0">
                  <a:solidFill>
                    <a:srgbClr val="000000"/>
                  </a:solidFill>
                  <a:latin typeface="Honeywell Sans" panose="02010503040101060203" pitchFamily="50" charset="0"/>
                  <a:cs typeface="Arial" pitchFamily="34" charset="0"/>
                </a:endParaRPr>
              </a:p>
            </p:txBody>
          </p:sp>
          <p:sp>
            <p:nvSpPr>
              <p:cNvPr id="378" name="Rectangle 40"/>
              <p:cNvSpPr>
                <a:spLocks noChangeArrowheads="1"/>
              </p:cNvSpPr>
              <p:nvPr/>
            </p:nvSpPr>
            <p:spPr bwMode="auto">
              <a:xfrm>
                <a:off x="4245789" y="5990187"/>
                <a:ext cx="204182" cy="12478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GB" kern="0">
                  <a:solidFill>
                    <a:srgbClr val="000000"/>
                  </a:solidFill>
                  <a:latin typeface="Honeywell Sans" panose="02010503040101060203" pitchFamily="50" charset="0"/>
                  <a:cs typeface="Arial" pitchFamily="34" charset="0"/>
                </a:endParaRPr>
              </a:p>
            </p:txBody>
          </p:sp>
          <p:sp>
            <p:nvSpPr>
              <p:cNvPr id="379" name="Freeform 41"/>
              <p:cNvSpPr>
                <a:spLocks noEditPoints="1"/>
              </p:cNvSpPr>
              <p:nvPr/>
            </p:nvSpPr>
            <p:spPr bwMode="auto">
              <a:xfrm>
                <a:off x="4052384" y="5817767"/>
                <a:ext cx="386244" cy="329527"/>
              </a:xfrm>
              <a:custGeom>
                <a:avLst/>
                <a:gdLst/>
                <a:ahLst/>
                <a:cxnLst>
                  <a:cxn ang="0">
                    <a:pos x="326" y="264"/>
                  </a:cxn>
                  <a:cxn ang="0">
                    <a:pos x="326" y="201"/>
                  </a:cxn>
                  <a:cxn ang="0">
                    <a:pos x="339" y="167"/>
                  </a:cxn>
                  <a:cxn ang="0">
                    <a:pos x="184" y="167"/>
                  </a:cxn>
                  <a:cxn ang="0">
                    <a:pos x="197" y="201"/>
                  </a:cxn>
                  <a:cxn ang="0">
                    <a:pos x="197" y="264"/>
                  </a:cxn>
                  <a:cxn ang="0">
                    <a:pos x="174" y="264"/>
                  </a:cxn>
                  <a:cxn ang="0">
                    <a:pos x="174" y="194"/>
                  </a:cxn>
                  <a:cxn ang="0">
                    <a:pos x="133" y="194"/>
                  </a:cxn>
                  <a:cxn ang="0">
                    <a:pos x="133" y="101"/>
                  </a:cxn>
                  <a:cxn ang="0">
                    <a:pos x="133" y="101"/>
                  </a:cxn>
                  <a:cxn ang="0">
                    <a:pos x="133" y="79"/>
                  </a:cxn>
                  <a:cxn ang="0">
                    <a:pos x="194" y="18"/>
                  </a:cxn>
                  <a:cxn ang="0">
                    <a:pos x="255" y="77"/>
                  </a:cxn>
                  <a:cxn ang="0">
                    <a:pos x="228" y="77"/>
                  </a:cxn>
                  <a:cxn ang="0">
                    <a:pos x="228" y="86"/>
                  </a:cxn>
                  <a:cxn ang="0">
                    <a:pos x="184" y="148"/>
                  </a:cxn>
                  <a:cxn ang="0">
                    <a:pos x="339" y="148"/>
                  </a:cxn>
                  <a:cxn ang="0">
                    <a:pos x="298" y="88"/>
                  </a:cxn>
                  <a:cxn ang="0">
                    <a:pos x="298" y="77"/>
                  </a:cxn>
                  <a:cxn ang="0">
                    <a:pos x="273" y="77"/>
                  </a:cxn>
                  <a:cxn ang="0">
                    <a:pos x="194" y="0"/>
                  </a:cxn>
                  <a:cxn ang="0">
                    <a:pos x="115" y="79"/>
                  </a:cxn>
                  <a:cxn ang="0">
                    <a:pos x="115" y="194"/>
                  </a:cxn>
                  <a:cxn ang="0">
                    <a:pos x="89" y="194"/>
                  </a:cxn>
                  <a:cxn ang="0">
                    <a:pos x="89" y="154"/>
                  </a:cxn>
                  <a:cxn ang="0">
                    <a:pos x="89" y="154"/>
                  </a:cxn>
                  <a:cxn ang="0">
                    <a:pos x="89" y="141"/>
                  </a:cxn>
                  <a:cxn ang="0">
                    <a:pos x="63" y="116"/>
                  </a:cxn>
                  <a:cxn ang="0">
                    <a:pos x="37" y="141"/>
                  </a:cxn>
                  <a:cxn ang="0">
                    <a:pos x="37" y="154"/>
                  </a:cxn>
                  <a:cxn ang="0">
                    <a:pos x="37" y="154"/>
                  </a:cxn>
                  <a:cxn ang="0">
                    <a:pos x="37" y="194"/>
                  </a:cxn>
                  <a:cxn ang="0">
                    <a:pos x="15" y="194"/>
                  </a:cxn>
                  <a:cxn ang="0">
                    <a:pos x="15" y="264"/>
                  </a:cxn>
                  <a:cxn ang="0">
                    <a:pos x="0" y="264"/>
                  </a:cxn>
                  <a:cxn ang="0">
                    <a:pos x="0" y="290"/>
                  </a:cxn>
                  <a:cxn ang="0">
                    <a:pos x="340" y="290"/>
                  </a:cxn>
                  <a:cxn ang="0">
                    <a:pos x="340" y="264"/>
                  </a:cxn>
                  <a:cxn ang="0">
                    <a:pos x="326" y="264"/>
                  </a:cxn>
                  <a:cxn ang="0">
                    <a:pos x="318" y="211"/>
                  </a:cxn>
                  <a:cxn ang="0">
                    <a:pos x="318" y="264"/>
                  </a:cxn>
                  <a:cxn ang="0">
                    <a:pos x="266" y="264"/>
                  </a:cxn>
                  <a:cxn ang="0">
                    <a:pos x="266" y="235"/>
                  </a:cxn>
                  <a:cxn ang="0">
                    <a:pos x="318" y="211"/>
                  </a:cxn>
                  <a:cxn ang="0">
                    <a:pos x="205" y="211"/>
                  </a:cxn>
                  <a:cxn ang="0">
                    <a:pos x="257" y="235"/>
                  </a:cxn>
                  <a:cxn ang="0">
                    <a:pos x="257" y="264"/>
                  </a:cxn>
                  <a:cxn ang="0">
                    <a:pos x="205" y="264"/>
                  </a:cxn>
                  <a:cxn ang="0">
                    <a:pos x="205" y="211"/>
                  </a:cxn>
                  <a:cxn ang="0">
                    <a:pos x="46" y="142"/>
                  </a:cxn>
                  <a:cxn ang="0">
                    <a:pos x="49" y="136"/>
                  </a:cxn>
                  <a:cxn ang="0">
                    <a:pos x="53" y="142"/>
                  </a:cxn>
                  <a:cxn ang="0">
                    <a:pos x="53" y="264"/>
                  </a:cxn>
                  <a:cxn ang="0">
                    <a:pos x="46" y="264"/>
                  </a:cxn>
                  <a:cxn ang="0">
                    <a:pos x="46" y="142"/>
                  </a:cxn>
                </a:cxnLst>
                <a:rect l="0" t="0" r="r" b="b"/>
                <a:pathLst>
                  <a:path w="340" h="290">
                    <a:moveTo>
                      <a:pt x="326" y="264"/>
                    </a:moveTo>
                    <a:cubicBezTo>
                      <a:pt x="326" y="201"/>
                      <a:pt x="326" y="201"/>
                      <a:pt x="326" y="201"/>
                    </a:cubicBezTo>
                    <a:cubicBezTo>
                      <a:pt x="333" y="191"/>
                      <a:pt x="337" y="179"/>
                      <a:pt x="339" y="167"/>
                    </a:cubicBezTo>
                    <a:cubicBezTo>
                      <a:pt x="184" y="167"/>
                      <a:pt x="184" y="167"/>
                      <a:pt x="184" y="167"/>
                    </a:cubicBezTo>
                    <a:cubicBezTo>
                      <a:pt x="186" y="179"/>
                      <a:pt x="190" y="191"/>
                      <a:pt x="197" y="201"/>
                    </a:cubicBezTo>
                    <a:cubicBezTo>
                      <a:pt x="197" y="264"/>
                      <a:pt x="197" y="264"/>
                      <a:pt x="197" y="264"/>
                    </a:cubicBezTo>
                    <a:cubicBezTo>
                      <a:pt x="174" y="264"/>
                      <a:pt x="174" y="264"/>
                      <a:pt x="174" y="264"/>
                    </a:cubicBezTo>
                    <a:cubicBezTo>
                      <a:pt x="174" y="194"/>
                      <a:pt x="174" y="194"/>
                      <a:pt x="174" y="194"/>
                    </a:cubicBezTo>
                    <a:cubicBezTo>
                      <a:pt x="133" y="194"/>
                      <a:pt x="133" y="194"/>
                      <a:pt x="133" y="194"/>
                    </a:cubicBezTo>
                    <a:cubicBezTo>
                      <a:pt x="133" y="101"/>
                      <a:pt x="133" y="101"/>
                      <a:pt x="133" y="101"/>
                    </a:cubicBezTo>
                    <a:cubicBezTo>
                      <a:pt x="133" y="101"/>
                      <a:pt x="133" y="101"/>
                      <a:pt x="133" y="101"/>
                    </a:cubicBezTo>
                    <a:cubicBezTo>
                      <a:pt x="133" y="79"/>
                      <a:pt x="133" y="79"/>
                      <a:pt x="133" y="79"/>
                    </a:cubicBezTo>
                    <a:cubicBezTo>
                      <a:pt x="133" y="45"/>
                      <a:pt x="160" y="18"/>
                      <a:pt x="194" y="18"/>
                    </a:cubicBezTo>
                    <a:cubicBezTo>
                      <a:pt x="227" y="18"/>
                      <a:pt x="254" y="44"/>
                      <a:pt x="255" y="77"/>
                    </a:cubicBezTo>
                    <a:cubicBezTo>
                      <a:pt x="228" y="77"/>
                      <a:pt x="228" y="77"/>
                      <a:pt x="228" y="77"/>
                    </a:cubicBezTo>
                    <a:cubicBezTo>
                      <a:pt x="228" y="86"/>
                      <a:pt x="228" y="86"/>
                      <a:pt x="228" y="86"/>
                    </a:cubicBezTo>
                    <a:cubicBezTo>
                      <a:pt x="204" y="98"/>
                      <a:pt x="187" y="121"/>
                      <a:pt x="184" y="148"/>
                    </a:cubicBezTo>
                    <a:cubicBezTo>
                      <a:pt x="339" y="148"/>
                      <a:pt x="339" y="148"/>
                      <a:pt x="339" y="148"/>
                    </a:cubicBezTo>
                    <a:cubicBezTo>
                      <a:pt x="336" y="122"/>
                      <a:pt x="320" y="100"/>
                      <a:pt x="298" y="88"/>
                    </a:cubicBezTo>
                    <a:cubicBezTo>
                      <a:pt x="298" y="77"/>
                      <a:pt x="298" y="77"/>
                      <a:pt x="298" y="77"/>
                    </a:cubicBezTo>
                    <a:cubicBezTo>
                      <a:pt x="273" y="77"/>
                      <a:pt x="273" y="77"/>
                      <a:pt x="273" y="77"/>
                    </a:cubicBezTo>
                    <a:cubicBezTo>
                      <a:pt x="272" y="34"/>
                      <a:pt x="237" y="0"/>
                      <a:pt x="194" y="0"/>
                    </a:cubicBezTo>
                    <a:cubicBezTo>
                      <a:pt x="151" y="0"/>
                      <a:pt x="115" y="35"/>
                      <a:pt x="115" y="79"/>
                    </a:cubicBezTo>
                    <a:cubicBezTo>
                      <a:pt x="115" y="194"/>
                      <a:pt x="115" y="194"/>
                      <a:pt x="115" y="194"/>
                    </a:cubicBezTo>
                    <a:cubicBezTo>
                      <a:pt x="89" y="194"/>
                      <a:pt x="89" y="194"/>
                      <a:pt x="89" y="194"/>
                    </a:cubicBezTo>
                    <a:cubicBezTo>
                      <a:pt x="89" y="154"/>
                      <a:pt x="89" y="154"/>
                      <a:pt x="89" y="154"/>
                    </a:cubicBezTo>
                    <a:cubicBezTo>
                      <a:pt x="89" y="154"/>
                      <a:pt x="89" y="154"/>
                      <a:pt x="89" y="154"/>
                    </a:cubicBezTo>
                    <a:cubicBezTo>
                      <a:pt x="89" y="141"/>
                      <a:pt x="89" y="141"/>
                      <a:pt x="89" y="141"/>
                    </a:cubicBezTo>
                    <a:cubicBezTo>
                      <a:pt x="89" y="127"/>
                      <a:pt x="77" y="116"/>
                      <a:pt x="63" y="116"/>
                    </a:cubicBezTo>
                    <a:cubicBezTo>
                      <a:pt x="48" y="116"/>
                      <a:pt x="37" y="127"/>
                      <a:pt x="37" y="141"/>
                    </a:cubicBezTo>
                    <a:cubicBezTo>
                      <a:pt x="37" y="154"/>
                      <a:pt x="37" y="154"/>
                      <a:pt x="37" y="154"/>
                    </a:cubicBezTo>
                    <a:cubicBezTo>
                      <a:pt x="37" y="154"/>
                      <a:pt x="37" y="154"/>
                      <a:pt x="37" y="154"/>
                    </a:cubicBezTo>
                    <a:cubicBezTo>
                      <a:pt x="37" y="194"/>
                      <a:pt x="37" y="194"/>
                      <a:pt x="37" y="194"/>
                    </a:cubicBezTo>
                    <a:cubicBezTo>
                      <a:pt x="15" y="194"/>
                      <a:pt x="15" y="194"/>
                      <a:pt x="15" y="194"/>
                    </a:cubicBezTo>
                    <a:cubicBezTo>
                      <a:pt x="15" y="264"/>
                      <a:pt x="15" y="264"/>
                      <a:pt x="15" y="264"/>
                    </a:cubicBezTo>
                    <a:cubicBezTo>
                      <a:pt x="0" y="264"/>
                      <a:pt x="0" y="264"/>
                      <a:pt x="0" y="264"/>
                    </a:cubicBezTo>
                    <a:cubicBezTo>
                      <a:pt x="0" y="290"/>
                      <a:pt x="0" y="290"/>
                      <a:pt x="0" y="290"/>
                    </a:cubicBezTo>
                    <a:cubicBezTo>
                      <a:pt x="340" y="290"/>
                      <a:pt x="340" y="290"/>
                      <a:pt x="340" y="290"/>
                    </a:cubicBezTo>
                    <a:cubicBezTo>
                      <a:pt x="340" y="264"/>
                      <a:pt x="340" y="264"/>
                      <a:pt x="340" y="264"/>
                    </a:cubicBezTo>
                    <a:lnTo>
                      <a:pt x="326" y="264"/>
                    </a:lnTo>
                    <a:close/>
                    <a:moveTo>
                      <a:pt x="318" y="211"/>
                    </a:moveTo>
                    <a:cubicBezTo>
                      <a:pt x="318" y="264"/>
                      <a:pt x="318" y="264"/>
                      <a:pt x="318" y="264"/>
                    </a:cubicBezTo>
                    <a:cubicBezTo>
                      <a:pt x="266" y="264"/>
                      <a:pt x="266" y="264"/>
                      <a:pt x="266" y="264"/>
                    </a:cubicBezTo>
                    <a:cubicBezTo>
                      <a:pt x="266" y="235"/>
                      <a:pt x="266" y="235"/>
                      <a:pt x="266" y="235"/>
                    </a:cubicBezTo>
                    <a:cubicBezTo>
                      <a:pt x="286" y="234"/>
                      <a:pt x="305" y="225"/>
                      <a:pt x="318" y="211"/>
                    </a:cubicBezTo>
                    <a:close/>
                    <a:moveTo>
                      <a:pt x="205" y="211"/>
                    </a:moveTo>
                    <a:cubicBezTo>
                      <a:pt x="218" y="225"/>
                      <a:pt x="237" y="234"/>
                      <a:pt x="257" y="235"/>
                    </a:cubicBezTo>
                    <a:cubicBezTo>
                      <a:pt x="257" y="264"/>
                      <a:pt x="257" y="264"/>
                      <a:pt x="257" y="264"/>
                    </a:cubicBezTo>
                    <a:cubicBezTo>
                      <a:pt x="205" y="264"/>
                      <a:pt x="205" y="264"/>
                      <a:pt x="205" y="264"/>
                    </a:cubicBezTo>
                    <a:lnTo>
                      <a:pt x="205" y="211"/>
                    </a:lnTo>
                    <a:close/>
                    <a:moveTo>
                      <a:pt x="46" y="142"/>
                    </a:moveTo>
                    <a:cubicBezTo>
                      <a:pt x="46" y="139"/>
                      <a:pt x="47" y="136"/>
                      <a:pt x="49" y="136"/>
                    </a:cubicBezTo>
                    <a:cubicBezTo>
                      <a:pt x="52" y="136"/>
                      <a:pt x="53" y="139"/>
                      <a:pt x="53" y="142"/>
                    </a:cubicBezTo>
                    <a:cubicBezTo>
                      <a:pt x="53" y="264"/>
                      <a:pt x="53" y="264"/>
                      <a:pt x="53" y="264"/>
                    </a:cubicBezTo>
                    <a:cubicBezTo>
                      <a:pt x="46" y="264"/>
                      <a:pt x="46" y="264"/>
                      <a:pt x="46" y="264"/>
                    </a:cubicBezTo>
                    <a:lnTo>
                      <a:pt x="46" y="142"/>
                    </a:ln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GB" kern="0">
                  <a:solidFill>
                    <a:srgbClr val="000000"/>
                  </a:solidFill>
                  <a:latin typeface="Honeywell Sans" panose="02010503040101060203" pitchFamily="50" charset="0"/>
                  <a:cs typeface="Arial" pitchFamily="34" charset="0"/>
                </a:endParaRPr>
              </a:p>
            </p:txBody>
          </p:sp>
          <p:sp>
            <p:nvSpPr>
              <p:cNvPr id="380" name="Freeform 39"/>
              <p:cNvSpPr>
                <a:spLocks noEditPoints="1"/>
              </p:cNvSpPr>
              <p:nvPr/>
            </p:nvSpPr>
            <p:spPr bwMode="auto">
              <a:xfrm>
                <a:off x="3730068" y="5838429"/>
                <a:ext cx="324990" cy="305706"/>
              </a:xfrm>
              <a:custGeom>
                <a:avLst/>
                <a:gdLst/>
                <a:ahLst/>
                <a:cxnLst>
                  <a:cxn ang="0">
                    <a:pos x="275" y="146"/>
                  </a:cxn>
                  <a:cxn ang="0">
                    <a:pos x="254" y="122"/>
                  </a:cxn>
                  <a:cxn ang="0">
                    <a:pos x="258" y="115"/>
                  </a:cxn>
                  <a:cxn ang="0">
                    <a:pos x="254" y="26"/>
                  </a:cxn>
                  <a:cxn ang="0">
                    <a:pos x="234" y="0"/>
                  </a:cxn>
                  <a:cxn ang="0">
                    <a:pos x="184" y="8"/>
                  </a:cxn>
                  <a:cxn ang="0">
                    <a:pos x="178" y="35"/>
                  </a:cxn>
                  <a:cxn ang="0">
                    <a:pos x="158" y="51"/>
                  </a:cxn>
                  <a:cxn ang="0">
                    <a:pos x="158" y="52"/>
                  </a:cxn>
                  <a:cxn ang="0">
                    <a:pos x="158" y="168"/>
                  </a:cxn>
                  <a:cxn ang="0">
                    <a:pos x="151" y="176"/>
                  </a:cxn>
                  <a:cxn ang="0">
                    <a:pos x="146" y="136"/>
                  </a:cxn>
                  <a:cxn ang="0">
                    <a:pos x="146" y="56"/>
                  </a:cxn>
                  <a:cxn ang="0">
                    <a:pos x="82" y="31"/>
                  </a:cxn>
                  <a:cxn ang="0">
                    <a:pos x="61" y="89"/>
                  </a:cxn>
                  <a:cxn ang="0">
                    <a:pos x="9" y="247"/>
                  </a:cxn>
                  <a:cxn ang="0">
                    <a:pos x="0" y="269"/>
                  </a:cxn>
                  <a:cxn ang="0">
                    <a:pos x="286" y="247"/>
                  </a:cxn>
                  <a:cxn ang="0">
                    <a:pos x="25" y="247"/>
                  </a:cxn>
                  <a:cxn ang="0">
                    <a:pos x="19" y="127"/>
                  </a:cxn>
                  <a:cxn ang="0">
                    <a:pos x="25" y="127"/>
                  </a:cxn>
                  <a:cxn ang="0">
                    <a:pos x="158" y="247"/>
                  </a:cxn>
                  <a:cxn ang="0">
                    <a:pos x="124" y="123"/>
                  </a:cxn>
                  <a:cxn ang="0">
                    <a:pos x="69" y="56"/>
                  </a:cxn>
                  <a:cxn ang="0">
                    <a:pos x="82" y="39"/>
                  </a:cxn>
                  <a:cxn ang="0">
                    <a:pos x="133" y="44"/>
                  </a:cxn>
                  <a:cxn ang="0">
                    <a:pos x="137" y="133"/>
                  </a:cxn>
                  <a:cxn ang="0">
                    <a:pos x="137" y="171"/>
                  </a:cxn>
                  <a:cxn ang="0">
                    <a:pos x="151" y="194"/>
                  </a:cxn>
                  <a:cxn ang="0">
                    <a:pos x="158" y="247"/>
                  </a:cxn>
                  <a:cxn ang="0">
                    <a:pos x="167" y="247"/>
                  </a:cxn>
                  <a:cxn ang="0">
                    <a:pos x="170" y="56"/>
                  </a:cxn>
                  <a:cxn ang="0">
                    <a:pos x="173" y="247"/>
                  </a:cxn>
                  <a:cxn ang="0">
                    <a:pos x="235" y="247"/>
                  </a:cxn>
                  <a:cxn ang="0">
                    <a:pos x="239" y="148"/>
                  </a:cxn>
                  <a:cxn ang="0">
                    <a:pos x="242" y="247"/>
                  </a:cxn>
                  <a:cxn ang="0">
                    <a:pos x="226" y="247"/>
                  </a:cxn>
                  <a:cxn ang="0">
                    <a:pos x="209" y="52"/>
                  </a:cxn>
                  <a:cxn ang="0">
                    <a:pos x="209" y="52"/>
                  </a:cxn>
                  <a:cxn ang="0">
                    <a:pos x="208" y="51"/>
                  </a:cxn>
                  <a:cxn ang="0">
                    <a:pos x="187" y="26"/>
                  </a:cxn>
                  <a:cxn ang="0">
                    <a:pos x="198" y="9"/>
                  </a:cxn>
                  <a:cxn ang="0">
                    <a:pos x="242" y="13"/>
                  </a:cxn>
                  <a:cxn ang="0">
                    <a:pos x="246" y="112"/>
                  </a:cxn>
                  <a:cxn ang="0">
                    <a:pos x="241" y="115"/>
                  </a:cxn>
                  <a:cxn ang="0">
                    <a:pos x="245" y="122"/>
                  </a:cxn>
                  <a:cxn ang="0">
                    <a:pos x="246" y="129"/>
                  </a:cxn>
                </a:cxnLst>
                <a:rect l="0" t="0" r="r" b="b"/>
                <a:pathLst>
                  <a:path w="286" h="269">
                    <a:moveTo>
                      <a:pt x="275" y="247"/>
                    </a:moveTo>
                    <a:cubicBezTo>
                      <a:pt x="275" y="146"/>
                      <a:pt x="275" y="146"/>
                      <a:pt x="275" y="146"/>
                    </a:cubicBezTo>
                    <a:cubicBezTo>
                      <a:pt x="271" y="137"/>
                      <a:pt x="263" y="130"/>
                      <a:pt x="254" y="129"/>
                    </a:cubicBezTo>
                    <a:cubicBezTo>
                      <a:pt x="254" y="122"/>
                      <a:pt x="254" y="122"/>
                      <a:pt x="254" y="122"/>
                    </a:cubicBezTo>
                    <a:cubicBezTo>
                      <a:pt x="256" y="121"/>
                      <a:pt x="258" y="120"/>
                      <a:pt x="258" y="118"/>
                    </a:cubicBezTo>
                    <a:cubicBezTo>
                      <a:pt x="258" y="115"/>
                      <a:pt x="258" y="115"/>
                      <a:pt x="258" y="115"/>
                    </a:cubicBezTo>
                    <a:cubicBezTo>
                      <a:pt x="258" y="113"/>
                      <a:pt x="256" y="112"/>
                      <a:pt x="254" y="112"/>
                    </a:cubicBezTo>
                    <a:cubicBezTo>
                      <a:pt x="254" y="26"/>
                      <a:pt x="254" y="26"/>
                      <a:pt x="254" y="26"/>
                    </a:cubicBezTo>
                    <a:cubicBezTo>
                      <a:pt x="254" y="19"/>
                      <a:pt x="252" y="13"/>
                      <a:pt x="249" y="8"/>
                    </a:cubicBezTo>
                    <a:cubicBezTo>
                      <a:pt x="245" y="4"/>
                      <a:pt x="240" y="0"/>
                      <a:pt x="234" y="0"/>
                    </a:cubicBezTo>
                    <a:cubicBezTo>
                      <a:pt x="198" y="0"/>
                      <a:pt x="198" y="0"/>
                      <a:pt x="198" y="0"/>
                    </a:cubicBezTo>
                    <a:cubicBezTo>
                      <a:pt x="192" y="0"/>
                      <a:pt x="187" y="4"/>
                      <a:pt x="184" y="8"/>
                    </a:cubicBezTo>
                    <a:cubicBezTo>
                      <a:pt x="180" y="13"/>
                      <a:pt x="178" y="19"/>
                      <a:pt x="178" y="26"/>
                    </a:cubicBezTo>
                    <a:cubicBezTo>
                      <a:pt x="178" y="35"/>
                      <a:pt x="178" y="35"/>
                      <a:pt x="178" y="35"/>
                    </a:cubicBezTo>
                    <a:cubicBezTo>
                      <a:pt x="170" y="37"/>
                      <a:pt x="163" y="43"/>
                      <a:pt x="159" y="51"/>
                    </a:cubicBezTo>
                    <a:cubicBezTo>
                      <a:pt x="158" y="51"/>
                      <a:pt x="158" y="51"/>
                      <a:pt x="158" y="51"/>
                    </a:cubicBezTo>
                    <a:cubicBezTo>
                      <a:pt x="158" y="52"/>
                      <a:pt x="158" y="52"/>
                      <a:pt x="158" y="52"/>
                    </a:cubicBezTo>
                    <a:cubicBezTo>
                      <a:pt x="158" y="52"/>
                      <a:pt x="158" y="52"/>
                      <a:pt x="158" y="52"/>
                    </a:cubicBezTo>
                    <a:cubicBezTo>
                      <a:pt x="158" y="52"/>
                      <a:pt x="158" y="52"/>
                      <a:pt x="158" y="52"/>
                    </a:cubicBezTo>
                    <a:cubicBezTo>
                      <a:pt x="158" y="168"/>
                      <a:pt x="158" y="168"/>
                      <a:pt x="158" y="168"/>
                    </a:cubicBezTo>
                    <a:cubicBezTo>
                      <a:pt x="151" y="168"/>
                      <a:pt x="151" y="168"/>
                      <a:pt x="151" y="168"/>
                    </a:cubicBezTo>
                    <a:cubicBezTo>
                      <a:pt x="151" y="176"/>
                      <a:pt x="151" y="176"/>
                      <a:pt x="151" y="176"/>
                    </a:cubicBezTo>
                    <a:cubicBezTo>
                      <a:pt x="148" y="176"/>
                      <a:pt x="146" y="174"/>
                      <a:pt x="146" y="171"/>
                    </a:cubicBezTo>
                    <a:cubicBezTo>
                      <a:pt x="146" y="136"/>
                      <a:pt x="146" y="136"/>
                      <a:pt x="146" y="136"/>
                    </a:cubicBezTo>
                    <a:cubicBezTo>
                      <a:pt x="146" y="136"/>
                      <a:pt x="146" y="136"/>
                      <a:pt x="146" y="136"/>
                    </a:cubicBezTo>
                    <a:cubicBezTo>
                      <a:pt x="146" y="56"/>
                      <a:pt x="146" y="56"/>
                      <a:pt x="146" y="56"/>
                    </a:cubicBezTo>
                    <a:cubicBezTo>
                      <a:pt x="146" y="43"/>
                      <a:pt x="137" y="31"/>
                      <a:pt x="124" y="31"/>
                    </a:cubicBezTo>
                    <a:cubicBezTo>
                      <a:pt x="82" y="31"/>
                      <a:pt x="82" y="31"/>
                      <a:pt x="82" y="31"/>
                    </a:cubicBezTo>
                    <a:cubicBezTo>
                      <a:pt x="70" y="31"/>
                      <a:pt x="61" y="43"/>
                      <a:pt x="61" y="56"/>
                    </a:cubicBezTo>
                    <a:cubicBezTo>
                      <a:pt x="61" y="89"/>
                      <a:pt x="61" y="89"/>
                      <a:pt x="61" y="89"/>
                    </a:cubicBezTo>
                    <a:cubicBezTo>
                      <a:pt x="31" y="93"/>
                      <a:pt x="9" y="123"/>
                      <a:pt x="9" y="123"/>
                    </a:cubicBezTo>
                    <a:cubicBezTo>
                      <a:pt x="9" y="247"/>
                      <a:pt x="9" y="247"/>
                      <a:pt x="9" y="247"/>
                    </a:cubicBezTo>
                    <a:cubicBezTo>
                      <a:pt x="0" y="247"/>
                      <a:pt x="0" y="247"/>
                      <a:pt x="0" y="247"/>
                    </a:cubicBezTo>
                    <a:cubicBezTo>
                      <a:pt x="0" y="269"/>
                      <a:pt x="0" y="269"/>
                      <a:pt x="0" y="269"/>
                    </a:cubicBezTo>
                    <a:cubicBezTo>
                      <a:pt x="286" y="269"/>
                      <a:pt x="286" y="269"/>
                      <a:pt x="286" y="269"/>
                    </a:cubicBezTo>
                    <a:cubicBezTo>
                      <a:pt x="286" y="247"/>
                      <a:pt x="286" y="247"/>
                      <a:pt x="286" y="247"/>
                    </a:cubicBezTo>
                    <a:lnTo>
                      <a:pt x="275" y="247"/>
                    </a:lnTo>
                    <a:close/>
                    <a:moveTo>
                      <a:pt x="25" y="247"/>
                    </a:moveTo>
                    <a:cubicBezTo>
                      <a:pt x="19" y="247"/>
                      <a:pt x="19" y="247"/>
                      <a:pt x="19" y="247"/>
                    </a:cubicBezTo>
                    <a:cubicBezTo>
                      <a:pt x="19" y="127"/>
                      <a:pt x="19" y="127"/>
                      <a:pt x="19" y="127"/>
                    </a:cubicBezTo>
                    <a:cubicBezTo>
                      <a:pt x="19" y="125"/>
                      <a:pt x="21" y="124"/>
                      <a:pt x="22" y="124"/>
                    </a:cubicBezTo>
                    <a:cubicBezTo>
                      <a:pt x="24" y="124"/>
                      <a:pt x="25" y="125"/>
                      <a:pt x="25" y="127"/>
                    </a:cubicBezTo>
                    <a:lnTo>
                      <a:pt x="25" y="247"/>
                    </a:lnTo>
                    <a:close/>
                    <a:moveTo>
                      <a:pt x="158" y="247"/>
                    </a:moveTo>
                    <a:cubicBezTo>
                      <a:pt x="124" y="247"/>
                      <a:pt x="124" y="247"/>
                      <a:pt x="124" y="247"/>
                    </a:cubicBezTo>
                    <a:cubicBezTo>
                      <a:pt x="124" y="123"/>
                      <a:pt x="124" y="123"/>
                      <a:pt x="124" y="123"/>
                    </a:cubicBezTo>
                    <a:cubicBezTo>
                      <a:pt x="124" y="123"/>
                      <a:pt x="99" y="91"/>
                      <a:pt x="69" y="89"/>
                    </a:cubicBezTo>
                    <a:cubicBezTo>
                      <a:pt x="69" y="56"/>
                      <a:pt x="69" y="56"/>
                      <a:pt x="69" y="56"/>
                    </a:cubicBezTo>
                    <a:cubicBezTo>
                      <a:pt x="69" y="51"/>
                      <a:pt x="71" y="47"/>
                      <a:pt x="73" y="44"/>
                    </a:cubicBezTo>
                    <a:cubicBezTo>
                      <a:pt x="76" y="41"/>
                      <a:pt x="79" y="39"/>
                      <a:pt x="82" y="39"/>
                    </a:cubicBezTo>
                    <a:cubicBezTo>
                      <a:pt x="124" y="39"/>
                      <a:pt x="124" y="39"/>
                      <a:pt x="124" y="39"/>
                    </a:cubicBezTo>
                    <a:cubicBezTo>
                      <a:pt x="128" y="39"/>
                      <a:pt x="131" y="41"/>
                      <a:pt x="133" y="44"/>
                    </a:cubicBezTo>
                    <a:cubicBezTo>
                      <a:pt x="136" y="47"/>
                      <a:pt x="137" y="51"/>
                      <a:pt x="137" y="56"/>
                    </a:cubicBezTo>
                    <a:cubicBezTo>
                      <a:pt x="137" y="133"/>
                      <a:pt x="137" y="133"/>
                      <a:pt x="137" y="133"/>
                    </a:cubicBezTo>
                    <a:cubicBezTo>
                      <a:pt x="137" y="133"/>
                      <a:pt x="137" y="133"/>
                      <a:pt x="137" y="133"/>
                    </a:cubicBezTo>
                    <a:cubicBezTo>
                      <a:pt x="137" y="171"/>
                      <a:pt x="137" y="171"/>
                      <a:pt x="137" y="171"/>
                    </a:cubicBezTo>
                    <a:cubicBezTo>
                      <a:pt x="137" y="178"/>
                      <a:pt x="143" y="184"/>
                      <a:pt x="151" y="185"/>
                    </a:cubicBezTo>
                    <a:cubicBezTo>
                      <a:pt x="151" y="194"/>
                      <a:pt x="151" y="194"/>
                      <a:pt x="151" y="194"/>
                    </a:cubicBezTo>
                    <a:cubicBezTo>
                      <a:pt x="158" y="194"/>
                      <a:pt x="158" y="194"/>
                      <a:pt x="158" y="194"/>
                    </a:cubicBezTo>
                    <a:lnTo>
                      <a:pt x="158" y="247"/>
                    </a:lnTo>
                    <a:close/>
                    <a:moveTo>
                      <a:pt x="173" y="247"/>
                    </a:moveTo>
                    <a:cubicBezTo>
                      <a:pt x="167" y="247"/>
                      <a:pt x="167" y="247"/>
                      <a:pt x="167" y="247"/>
                    </a:cubicBezTo>
                    <a:cubicBezTo>
                      <a:pt x="167" y="62"/>
                      <a:pt x="167" y="62"/>
                      <a:pt x="167" y="62"/>
                    </a:cubicBezTo>
                    <a:cubicBezTo>
                      <a:pt x="167" y="59"/>
                      <a:pt x="169" y="56"/>
                      <a:pt x="170" y="56"/>
                    </a:cubicBezTo>
                    <a:cubicBezTo>
                      <a:pt x="172" y="56"/>
                      <a:pt x="173" y="59"/>
                      <a:pt x="173" y="62"/>
                    </a:cubicBezTo>
                    <a:lnTo>
                      <a:pt x="173" y="247"/>
                    </a:lnTo>
                    <a:close/>
                    <a:moveTo>
                      <a:pt x="242" y="247"/>
                    </a:moveTo>
                    <a:cubicBezTo>
                      <a:pt x="235" y="247"/>
                      <a:pt x="235" y="247"/>
                      <a:pt x="235" y="247"/>
                    </a:cubicBezTo>
                    <a:cubicBezTo>
                      <a:pt x="235" y="153"/>
                      <a:pt x="235" y="153"/>
                      <a:pt x="235" y="153"/>
                    </a:cubicBezTo>
                    <a:cubicBezTo>
                      <a:pt x="235" y="150"/>
                      <a:pt x="237" y="148"/>
                      <a:pt x="239" y="148"/>
                    </a:cubicBezTo>
                    <a:cubicBezTo>
                      <a:pt x="240" y="148"/>
                      <a:pt x="242" y="150"/>
                      <a:pt x="242" y="153"/>
                    </a:cubicBezTo>
                    <a:lnTo>
                      <a:pt x="242" y="247"/>
                    </a:lnTo>
                    <a:close/>
                    <a:moveTo>
                      <a:pt x="226" y="146"/>
                    </a:moveTo>
                    <a:cubicBezTo>
                      <a:pt x="226" y="247"/>
                      <a:pt x="226" y="247"/>
                      <a:pt x="226" y="247"/>
                    </a:cubicBezTo>
                    <a:cubicBezTo>
                      <a:pt x="209" y="247"/>
                      <a:pt x="209" y="247"/>
                      <a:pt x="209" y="247"/>
                    </a:cubicBezTo>
                    <a:cubicBezTo>
                      <a:pt x="209" y="52"/>
                      <a:pt x="209" y="52"/>
                      <a:pt x="209" y="52"/>
                    </a:cubicBezTo>
                    <a:cubicBezTo>
                      <a:pt x="209" y="52"/>
                      <a:pt x="209" y="52"/>
                      <a:pt x="209" y="52"/>
                    </a:cubicBezTo>
                    <a:cubicBezTo>
                      <a:pt x="209" y="52"/>
                      <a:pt x="209" y="52"/>
                      <a:pt x="209" y="52"/>
                    </a:cubicBezTo>
                    <a:cubicBezTo>
                      <a:pt x="209" y="51"/>
                      <a:pt x="209" y="51"/>
                      <a:pt x="209" y="51"/>
                    </a:cubicBezTo>
                    <a:cubicBezTo>
                      <a:pt x="208" y="51"/>
                      <a:pt x="208" y="51"/>
                      <a:pt x="208" y="51"/>
                    </a:cubicBezTo>
                    <a:cubicBezTo>
                      <a:pt x="204" y="42"/>
                      <a:pt x="196" y="36"/>
                      <a:pt x="187" y="34"/>
                    </a:cubicBezTo>
                    <a:cubicBezTo>
                      <a:pt x="187" y="26"/>
                      <a:pt x="187" y="26"/>
                      <a:pt x="187" y="26"/>
                    </a:cubicBezTo>
                    <a:cubicBezTo>
                      <a:pt x="187" y="21"/>
                      <a:pt x="188" y="16"/>
                      <a:pt x="190" y="13"/>
                    </a:cubicBezTo>
                    <a:cubicBezTo>
                      <a:pt x="193" y="10"/>
                      <a:pt x="195" y="9"/>
                      <a:pt x="198" y="9"/>
                    </a:cubicBezTo>
                    <a:cubicBezTo>
                      <a:pt x="234" y="9"/>
                      <a:pt x="234" y="9"/>
                      <a:pt x="234" y="9"/>
                    </a:cubicBezTo>
                    <a:cubicBezTo>
                      <a:pt x="237" y="9"/>
                      <a:pt x="240" y="10"/>
                      <a:pt x="242" y="13"/>
                    </a:cubicBezTo>
                    <a:cubicBezTo>
                      <a:pt x="244" y="16"/>
                      <a:pt x="246" y="21"/>
                      <a:pt x="246" y="26"/>
                    </a:cubicBezTo>
                    <a:cubicBezTo>
                      <a:pt x="246" y="112"/>
                      <a:pt x="246" y="112"/>
                      <a:pt x="246" y="112"/>
                    </a:cubicBezTo>
                    <a:cubicBezTo>
                      <a:pt x="245" y="112"/>
                      <a:pt x="245" y="112"/>
                      <a:pt x="245" y="112"/>
                    </a:cubicBezTo>
                    <a:cubicBezTo>
                      <a:pt x="243" y="112"/>
                      <a:pt x="241" y="113"/>
                      <a:pt x="241" y="115"/>
                    </a:cubicBezTo>
                    <a:cubicBezTo>
                      <a:pt x="241" y="118"/>
                      <a:pt x="241" y="118"/>
                      <a:pt x="241" y="118"/>
                    </a:cubicBezTo>
                    <a:cubicBezTo>
                      <a:pt x="241" y="120"/>
                      <a:pt x="243" y="122"/>
                      <a:pt x="245" y="122"/>
                    </a:cubicBezTo>
                    <a:cubicBezTo>
                      <a:pt x="246" y="122"/>
                      <a:pt x="246" y="122"/>
                      <a:pt x="246" y="122"/>
                    </a:cubicBezTo>
                    <a:cubicBezTo>
                      <a:pt x="246" y="129"/>
                      <a:pt x="246" y="129"/>
                      <a:pt x="246" y="129"/>
                    </a:cubicBezTo>
                    <a:cubicBezTo>
                      <a:pt x="237" y="131"/>
                      <a:pt x="230" y="137"/>
                      <a:pt x="226" y="146"/>
                    </a:cubicBez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GB" kern="0">
                  <a:solidFill>
                    <a:srgbClr val="000000"/>
                  </a:solidFill>
                  <a:latin typeface="Honeywell Sans" panose="02010503040101060203" pitchFamily="50" charset="0"/>
                  <a:cs typeface="Arial" pitchFamily="34" charset="0"/>
                </a:endParaRPr>
              </a:p>
            </p:txBody>
          </p:sp>
          <p:cxnSp>
            <p:nvCxnSpPr>
              <p:cNvPr id="381" name="Straight Connector 380"/>
              <p:cNvCxnSpPr/>
              <p:nvPr/>
            </p:nvCxnSpPr>
            <p:spPr bwMode="auto">
              <a:xfrm>
                <a:off x="3727661" y="6131478"/>
                <a:ext cx="1215340" cy="0"/>
              </a:xfrm>
              <a:prstGeom prst="line">
                <a:avLst/>
              </a:prstGeom>
              <a:noFill/>
              <a:ln w="28575" cap="rnd">
                <a:solidFill>
                  <a:schemeClr val="tx1">
                    <a:lumMod val="65000"/>
                    <a:lumOff val="35000"/>
                  </a:schemeClr>
                </a:solidFill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rgbClr val="0005FF"/>
                    </a:solidFill>
                  </a14:hiddenFill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grpSp>
          <p:nvGrpSpPr>
            <p:cNvPr id="334" name="Group 591"/>
            <p:cNvGrpSpPr>
              <a:grpSpLocks/>
            </p:cNvGrpSpPr>
            <p:nvPr/>
          </p:nvGrpSpPr>
          <p:grpSpPr>
            <a:xfrm>
              <a:off x="6422693" y="5824123"/>
              <a:ext cx="750813" cy="168227"/>
              <a:chOff x="2602072" y="3086100"/>
              <a:chExt cx="6759256" cy="1514474"/>
            </a:xfrm>
            <a:solidFill>
              <a:schemeClr val="bg1">
                <a:lumMod val="65000"/>
              </a:schemeClr>
            </a:solidFill>
          </p:grpSpPr>
          <p:sp>
            <p:nvSpPr>
              <p:cNvPr id="368" name="Oval 367"/>
              <p:cNvSpPr>
                <a:spLocks noChangeArrowheads="1"/>
              </p:cNvSpPr>
              <p:nvPr/>
            </p:nvSpPr>
            <p:spPr bwMode="auto">
              <a:xfrm flipH="1">
                <a:off x="6951235" y="4115805"/>
                <a:ext cx="481330" cy="484769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Honeywell Sans" panose="02010503040101060203" pitchFamily="50" charset="0"/>
                </a:endParaRPr>
              </a:p>
            </p:txBody>
          </p:sp>
          <p:sp>
            <p:nvSpPr>
              <p:cNvPr id="369" name="Freeform 368"/>
              <p:cNvSpPr>
                <a:spLocks/>
              </p:cNvSpPr>
              <p:nvPr/>
            </p:nvSpPr>
            <p:spPr bwMode="auto">
              <a:xfrm flipH="1">
                <a:off x="5727283" y="3194398"/>
                <a:ext cx="3634045" cy="1162069"/>
              </a:xfrm>
              <a:custGeom>
                <a:avLst/>
                <a:gdLst>
                  <a:gd name="connsiteX0" fmla="*/ 116894 w 3634045"/>
                  <a:gd name="connsiteY0" fmla="*/ 914529 h 1162069"/>
                  <a:gd name="connsiteX1" fmla="*/ 151275 w 3634045"/>
                  <a:gd name="connsiteY1" fmla="*/ 955787 h 1162069"/>
                  <a:gd name="connsiteX2" fmla="*/ 151275 w 3634045"/>
                  <a:gd name="connsiteY2" fmla="*/ 997045 h 1162069"/>
                  <a:gd name="connsiteX3" fmla="*/ 116894 w 3634045"/>
                  <a:gd name="connsiteY3" fmla="*/ 1031426 h 1162069"/>
                  <a:gd name="connsiteX4" fmla="*/ 68761 w 3634045"/>
                  <a:gd name="connsiteY4" fmla="*/ 1031426 h 1162069"/>
                  <a:gd name="connsiteX5" fmla="*/ 55009 w 3634045"/>
                  <a:gd name="connsiteY5" fmla="*/ 914529 h 1162069"/>
                  <a:gd name="connsiteX6" fmla="*/ 116894 w 3634045"/>
                  <a:gd name="connsiteY6" fmla="*/ 914529 h 1162069"/>
                  <a:gd name="connsiteX7" fmla="*/ 3572157 w 3634045"/>
                  <a:gd name="connsiteY7" fmla="*/ 900776 h 1162069"/>
                  <a:gd name="connsiteX8" fmla="*/ 3510271 w 3634045"/>
                  <a:gd name="connsiteY8" fmla="*/ 1017673 h 1162069"/>
                  <a:gd name="connsiteX9" fmla="*/ 3475890 w 3634045"/>
                  <a:gd name="connsiteY9" fmla="*/ 1017673 h 1162069"/>
                  <a:gd name="connsiteX10" fmla="*/ 3441508 w 3634045"/>
                  <a:gd name="connsiteY10" fmla="*/ 983292 h 1162069"/>
                  <a:gd name="connsiteX11" fmla="*/ 3441508 w 3634045"/>
                  <a:gd name="connsiteY11" fmla="*/ 942034 h 1162069"/>
                  <a:gd name="connsiteX12" fmla="*/ 3475890 w 3634045"/>
                  <a:gd name="connsiteY12" fmla="*/ 900776 h 1162069"/>
                  <a:gd name="connsiteX13" fmla="*/ 550091 w 3634045"/>
                  <a:gd name="connsiteY13" fmla="*/ 82514 h 1162069"/>
                  <a:gd name="connsiteX14" fmla="*/ 515710 w 3634045"/>
                  <a:gd name="connsiteY14" fmla="*/ 446949 h 1162069"/>
                  <a:gd name="connsiteX15" fmla="*/ 82514 w 3634045"/>
                  <a:gd name="connsiteY15" fmla="*/ 577595 h 1162069"/>
                  <a:gd name="connsiteX16" fmla="*/ 440073 w 3634045"/>
                  <a:gd name="connsiteY16" fmla="*/ 82514 h 1162069"/>
                  <a:gd name="connsiteX17" fmla="*/ 735749 w 3634045"/>
                  <a:gd name="connsiteY17" fmla="*/ 82514 h 1162069"/>
                  <a:gd name="connsiteX18" fmla="*/ 687615 w 3634045"/>
                  <a:gd name="connsiteY18" fmla="*/ 288800 h 1162069"/>
                  <a:gd name="connsiteX19" fmla="*/ 577595 w 3634045"/>
                  <a:gd name="connsiteY19" fmla="*/ 419447 h 1162069"/>
                  <a:gd name="connsiteX20" fmla="*/ 611976 w 3634045"/>
                  <a:gd name="connsiteY20" fmla="*/ 82514 h 1162069"/>
                  <a:gd name="connsiteX21" fmla="*/ 908511 w 3634045"/>
                  <a:gd name="connsiteY21" fmla="*/ 0 h 1162069"/>
                  <a:gd name="connsiteX22" fmla="*/ 440490 w 3634045"/>
                  <a:gd name="connsiteY22" fmla="*/ 0 h 1162069"/>
                  <a:gd name="connsiteX23" fmla="*/ 0 w 3634045"/>
                  <a:gd name="connsiteY23" fmla="*/ 797633 h 1162069"/>
                  <a:gd name="connsiteX24" fmla="*/ 34413 w 3634045"/>
                  <a:gd name="connsiteY24" fmla="*/ 1162069 h 1162069"/>
                  <a:gd name="connsiteX25" fmla="*/ 289072 w 3634045"/>
                  <a:gd name="connsiteY25" fmla="*/ 1162069 h 1162069"/>
                  <a:gd name="connsiteX26" fmla="*/ 564378 w 3634045"/>
                  <a:gd name="connsiteY26" fmla="*/ 880147 h 1162069"/>
                  <a:gd name="connsiteX27" fmla="*/ 846567 w 3634045"/>
                  <a:gd name="connsiteY27" fmla="*/ 1162069 h 1162069"/>
                  <a:gd name="connsiteX28" fmla="*/ 1885849 w 3634045"/>
                  <a:gd name="connsiteY28" fmla="*/ 1162069 h 1162069"/>
                  <a:gd name="connsiteX29" fmla="*/ 2168038 w 3634045"/>
                  <a:gd name="connsiteY29" fmla="*/ 880147 h 1162069"/>
                  <a:gd name="connsiteX30" fmla="*/ 2450227 w 3634045"/>
                  <a:gd name="connsiteY30" fmla="*/ 1162069 h 1162069"/>
                  <a:gd name="connsiteX31" fmla="*/ 2491523 w 3634045"/>
                  <a:gd name="connsiteY31" fmla="*/ 1162069 h 1162069"/>
                  <a:gd name="connsiteX32" fmla="*/ 2773713 w 3634045"/>
                  <a:gd name="connsiteY32" fmla="*/ 880147 h 1162069"/>
                  <a:gd name="connsiteX33" fmla="*/ 3055902 w 3634045"/>
                  <a:gd name="connsiteY33" fmla="*/ 1162069 h 1162069"/>
                  <a:gd name="connsiteX34" fmla="*/ 3214203 w 3634045"/>
                  <a:gd name="connsiteY34" fmla="*/ 1162069 h 1162069"/>
                  <a:gd name="connsiteX35" fmla="*/ 3634045 w 3634045"/>
                  <a:gd name="connsiteY35" fmla="*/ 783881 h 1162069"/>
                  <a:gd name="connsiteX36" fmla="*/ 3634045 w 3634045"/>
                  <a:gd name="connsiteY36" fmla="*/ 777005 h 1162069"/>
                  <a:gd name="connsiteX37" fmla="*/ 1018634 w 3634045"/>
                  <a:gd name="connsiteY37" fmla="*/ 777005 h 1162069"/>
                  <a:gd name="connsiteX38" fmla="*/ 1018634 w 3634045"/>
                  <a:gd name="connsiteY38" fmla="*/ 103142 h 1162069"/>
                  <a:gd name="connsiteX39" fmla="*/ 908511 w 3634045"/>
                  <a:gd name="connsiteY39" fmla="*/ 0 h 11620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</a:cxnLst>
                <a:rect l="l" t="t" r="r" b="b"/>
                <a:pathLst>
                  <a:path w="3634045" h="1162069">
                    <a:moveTo>
                      <a:pt x="116894" y="914529"/>
                    </a:moveTo>
                    <a:cubicBezTo>
                      <a:pt x="137523" y="914529"/>
                      <a:pt x="151275" y="935158"/>
                      <a:pt x="151275" y="955787"/>
                    </a:cubicBezTo>
                    <a:cubicBezTo>
                      <a:pt x="151275" y="955787"/>
                      <a:pt x="151275" y="955787"/>
                      <a:pt x="151275" y="997045"/>
                    </a:cubicBezTo>
                    <a:cubicBezTo>
                      <a:pt x="151275" y="1017674"/>
                      <a:pt x="137523" y="1031426"/>
                      <a:pt x="116894" y="1031426"/>
                    </a:cubicBezTo>
                    <a:cubicBezTo>
                      <a:pt x="116894" y="1031426"/>
                      <a:pt x="116894" y="1031426"/>
                      <a:pt x="68761" y="1031426"/>
                    </a:cubicBezTo>
                    <a:cubicBezTo>
                      <a:pt x="61885" y="1003921"/>
                      <a:pt x="61885" y="962663"/>
                      <a:pt x="55009" y="914529"/>
                    </a:cubicBezTo>
                    <a:cubicBezTo>
                      <a:pt x="55009" y="914529"/>
                      <a:pt x="55009" y="914529"/>
                      <a:pt x="116894" y="914529"/>
                    </a:cubicBezTo>
                    <a:close/>
                    <a:moveTo>
                      <a:pt x="3572157" y="900776"/>
                    </a:moveTo>
                    <a:cubicBezTo>
                      <a:pt x="3558405" y="948910"/>
                      <a:pt x="3537776" y="990168"/>
                      <a:pt x="3510271" y="1017673"/>
                    </a:cubicBezTo>
                    <a:cubicBezTo>
                      <a:pt x="3510271" y="1017673"/>
                      <a:pt x="3510271" y="1017673"/>
                      <a:pt x="3475890" y="1017673"/>
                    </a:cubicBezTo>
                    <a:cubicBezTo>
                      <a:pt x="3455261" y="1017673"/>
                      <a:pt x="3441508" y="1003921"/>
                      <a:pt x="3441508" y="983292"/>
                    </a:cubicBezTo>
                    <a:cubicBezTo>
                      <a:pt x="3441508" y="983292"/>
                      <a:pt x="3441508" y="983292"/>
                      <a:pt x="3441508" y="942034"/>
                    </a:cubicBezTo>
                    <a:cubicBezTo>
                      <a:pt x="3441508" y="921405"/>
                      <a:pt x="3455261" y="900776"/>
                      <a:pt x="3475890" y="900776"/>
                    </a:cubicBezTo>
                    <a:close/>
                    <a:moveTo>
                      <a:pt x="550091" y="82514"/>
                    </a:moveTo>
                    <a:cubicBezTo>
                      <a:pt x="550091" y="82514"/>
                      <a:pt x="550091" y="82514"/>
                      <a:pt x="515710" y="446949"/>
                    </a:cubicBezTo>
                    <a:cubicBezTo>
                      <a:pt x="515710" y="446949"/>
                      <a:pt x="515710" y="446949"/>
                      <a:pt x="82514" y="577595"/>
                    </a:cubicBezTo>
                    <a:cubicBezTo>
                      <a:pt x="123771" y="350683"/>
                      <a:pt x="220037" y="82514"/>
                      <a:pt x="440073" y="82514"/>
                    </a:cubicBezTo>
                    <a:close/>
                    <a:moveTo>
                      <a:pt x="735749" y="82514"/>
                    </a:moveTo>
                    <a:cubicBezTo>
                      <a:pt x="735749" y="82514"/>
                      <a:pt x="735749" y="82514"/>
                      <a:pt x="687615" y="288800"/>
                    </a:cubicBezTo>
                    <a:cubicBezTo>
                      <a:pt x="680739" y="336933"/>
                      <a:pt x="632605" y="391942"/>
                      <a:pt x="577595" y="419447"/>
                    </a:cubicBezTo>
                    <a:cubicBezTo>
                      <a:pt x="577595" y="419447"/>
                      <a:pt x="577595" y="419447"/>
                      <a:pt x="611976" y="82514"/>
                    </a:cubicBezTo>
                    <a:close/>
                    <a:moveTo>
                      <a:pt x="908511" y="0"/>
                    </a:moveTo>
                    <a:cubicBezTo>
                      <a:pt x="440490" y="0"/>
                      <a:pt x="440490" y="0"/>
                      <a:pt x="440490" y="0"/>
                    </a:cubicBezTo>
                    <a:cubicBezTo>
                      <a:pt x="89475" y="0"/>
                      <a:pt x="0" y="529464"/>
                      <a:pt x="0" y="797633"/>
                    </a:cubicBezTo>
                    <a:cubicBezTo>
                      <a:pt x="0" y="1072679"/>
                      <a:pt x="34413" y="1162069"/>
                      <a:pt x="34413" y="1162069"/>
                    </a:cubicBezTo>
                    <a:cubicBezTo>
                      <a:pt x="289072" y="1162069"/>
                      <a:pt x="289072" y="1162069"/>
                      <a:pt x="289072" y="1162069"/>
                    </a:cubicBezTo>
                    <a:cubicBezTo>
                      <a:pt x="289072" y="1010794"/>
                      <a:pt x="412960" y="880147"/>
                      <a:pt x="564378" y="880147"/>
                    </a:cubicBezTo>
                    <a:cubicBezTo>
                      <a:pt x="722679" y="880147"/>
                      <a:pt x="846567" y="1010794"/>
                      <a:pt x="846567" y="1162069"/>
                    </a:cubicBezTo>
                    <a:cubicBezTo>
                      <a:pt x="1885849" y="1162069"/>
                      <a:pt x="1885849" y="1162069"/>
                      <a:pt x="1885849" y="1162069"/>
                    </a:cubicBezTo>
                    <a:cubicBezTo>
                      <a:pt x="1885849" y="1010794"/>
                      <a:pt x="2016620" y="880147"/>
                      <a:pt x="2168038" y="880147"/>
                    </a:cubicBezTo>
                    <a:cubicBezTo>
                      <a:pt x="2326340" y="880147"/>
                      <a:pt x="2450227" y="1010794"/>
                      <a:pt x="2450227" y="1162069"/>
                    </a:cubicBezTo>
                    <a:cubicBezTo>
                      <a:pt x="2491523" y="1162069"/>
                      <a:pt x="2491523" y="1162069"/>
                      <a:pt x="2491523" y="1162069"/>
                    </a:cubicBezTo>
                    <a:cubicBezTo>
                      <a:pt x="2491523" y="1010794"/>
                      <a:pt x="2622294" y="880147"/>
                      <a:pt x="2773713" y="880147"/>
                    </a:cubicBezTo>
                    <a:cubicBezTo>
                      <a:pt x="2932014" y="880147"/>
                      <a:pt x="3055902" y="1010794"/>
                      <a:pt x="3055902" y="1162069"/>
                    </a:cubicBezTo>
                    <a:cubicBezTo>
                      <a:pt x="3214203" y="1162069"/>
                      <a:pt x="3214203" y="1162069"/>
                      <a:pt x="3214203" y="1162069"/>
                    </a:cubicBezTo>
                    <a:cubicBezTo>
                      <a:pt x="3496392" y="1162069"/>
                      <a:pt x="3634045" y="1058927"/>
                      <a:pt x="3634045" y="783881"/>
                    </a:cubicBezTo>
                    <a:cubicBezTo>
                      <a:pt x="3634045" y="777005"/>
                      <a:pt x="3634045" y="777005"/>
                      <a:pt x="3634045" y="777005"/>
                    </a:cubicBezTo>
                    <a:lnTo>
                      <a:pt x="1018634" y="777005"/>
                    </a:lnTo>
                    <a:cubicBezTo>
                      <a:pt x="1018634" y="103142"/>
                      <a:pt x="1018634" y="103142"/>
                      <a:pt x="1018634" y="103142"/>
                    </a:cubicBezTo>
                    <a:cubicBezTo>
                      <a:pt x="1018634" y="48133"/>
                      <a:pt x="970455" y="0"/>
                      <a:pt x="908511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Honeywell Sans" panose="02010503040101060203" pitchFamily="50" charset="0"/>
                </a:endParaRPr>
              </a:p>
            </p:txBody>
          </p:sp>
          <p:sp>
            <p:nvSpPr>
              <p:cNvPr id="370" name="Oval 369"/>
              <p:cNvSpPr>
                <a:spLocks noChangeArrowheads="1"/>
              </p:cNvSpPr>
              <p:nvPr/>
            </p:nvSpPr>
            <p:spPr bwMode="auto">
              <a:xfrm flipH="1">
                <a:off x="6346135" y="4115805"/>
                <a:ext cx="481330" cy="484769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Honeywell Sans" panose="02010503040101060203" pitchFamily="50" charset="0"/>
                </a:endParaRPr>
              </a:p>
            </p:txBody>
          </p:sp>
          <p:sp>
            <p:nvSpPr>
              <p:cNvPr id="371" name="Oval 370"/>
              <p:cNvSpPr>
                <a:spLocks noChangeArrowheads="1"/>
              </p:cNvSpPr>
              <p:nvPr/>
            </p:nvSpPr>
            <p:spPr bwMode="auto">
              <a:xfrm flipH="1">
                <a:off x="8549944" y="4115805"/>
                <a:ext cx="488208" cy="484769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Honeywell Sans" panose="02010503040101060203" pitchFamily="50" charset="0"/>
                </a:endParaRPr>
              </a:p>
            </p:txBody>
          </p:sp>
          <p:sp>
            <p:nvSpPr>
              <p:cNvPr id="372" name="Oval 371"/>
              <p:cNvSpPr>
                <a:spLocks noChangeArrowheads="1"/>
              </p:cNvSpPr>
              <p:nvPr/>
            </p:nvSpPr>
            <p:spPr bwMode="auto">
              <a:xfrm flipH="1">
                <a:off x="4211093" y="4115805"/>
                <a:ext cx="481330" cy="484769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Honeywell Sans" panose="02010503040101060203" pitchFamily="50" charset="0"/>
                </a:endParaRPr>
              </a:p>
            </p:txBody>
          </p:sp>
          <p:sp>
            <p:nvSpPr>
              <p:cNvPr id="373" name="Oval 372"/>
              <p:cNvSpPr>
                <a:spLocks noChangeArrowheads="1"/>
              </p:cNvSpPr>
              <p:nvPr/>
            </p:nvSpPr>
            <p:spPr bwMode="auto">
              <a:xfrm flipH="1">
                <a:off x="3605993" y="4115805"/>
                <a:ext cx="481330" cy="484769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Honeywell Sans" panose="02010503040101060203" pitchFamily="50" charset="0"/>
                </a:endParaRPr>
              </a:p>
            </p:txBody>
          </p:sp>
          <p:sp>
            <p:nvSpPr>
              <p:cNvPr id="374" name="Oval 373"/>
              <p:cNvSpPr>
                <a:spLocks noChangeArrowheads="1"/>
              </p:cNvSpPr>
              <p:nvPr/>
            </p:nvSpPr>
            <p:spPr bwMode="auto">
              <a:xfrm flipH="1">
                <a:off x="2994014" y="4115805"/>
                <a:ext cx="488208" cy="484769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Honeywell Sans" panose="02010503040101060203" pitchFamily="50" charset="0"/>
                </a:endParaRPr>
              </a:p>
            </p:txBody>
          </p:sp>
          <p:sp>
            <p:nvSpPr>
              <p:cNvPr id="375" name="Freeform 131"/>
              <p:cNvSpPr>
                <a:spLocks/>
              </p:cNvSpPr>
              <p:nvPr/>
            </p:nvSpPr>
            <p:spPr bwMode="auto">
              <a:xfrm rot="5400000" flipH="1">
                <a:off x="4968204" y="743054"/>
                <a:ext cx="801065" cy="5487157"/>
              </a:xfrm>
              <a:prstGeom prst="roundRect">
                <a:avLst>
                  <a:gd name="adj" fmla="val 50000"/>
                </a:avLst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Honeywell Sans" panose="02010503040101060203" pitchFamily="50" charset="0"/>
                </a:endParaRPr>
              </a:p>
            </p:txBody>
          </p:sp>
          <p:sp>
            <p:nvSpPr>
              <p:cNvPr id="376" name="Freeform 375"/>
              <p:cNvSpPr>
                <a:spLocks/>
              </p:cNvSpPr>
              <p:nvPr/>
            </p:nvSpPr>
            <p:spPr bwMode="auto">
              <a:xfrm flipH="1">
                <a:off x="2602072" y="3971404"/>
                <a:ext cx="2461662" cy="385063"/>
              </a:xfrm>
              <a:custGeom>
                <a:avLst/>
                <a:gdLst>
                  <a:gd name="connsiteX0" fmla="*/ 2406653 w 2461662"/>
                  <a:gd name="connsiteY0" fmla="*/ 123770 h 385063"/>
                  <a:gd name="connsiteX1" fmla="*/ 2406653 w 2461662"/>
                  <a:gd name="connsiteY1" fmla="*/ 240667 h 385063"/>
                  <a:gd name="connsiteX2" fmla="*/ 2358520 w 2461662"/>
                  <a:gd name="connsiteY2" fmla="*/ 240667 h 385063"/>
                  <a:gd name="connsiteX3" fmla="*/ 2324139 w 2461662"/>
                  <a:gd name="connsiteY3" fmla="*/ 206286 h 385063"/>
                  <a:gd name="connsiteX4" fmla="*/ 2324139 w 2461662"/>
                  <a:gd name="connsiteY4" fmla="*/ 165028 h 385063"/>
                  <a:gd name="connsiteX5" fmla="*/ 2358520 w 2461662"/>
                  <a:gd name="connsiteY5" fmla="*/ 123770 h 385063"/>
                  <a:gd name="connsiteX6" fmla="*/ 2461662 w 2461662"/>
                  <a:gd name="connsiteY6" fmla="*/ 0 h 385063"/>
                  <a:gd name="connsiteX7" fmla="*/ 0 w 2461662"/>
                  <a:gd name="connsiteY7" fmla="*/ 0 h 385063"/>
                  <a:gd name="connsiteX8" fmla="*/ 0 w 2461662"/>
                  <a:gd name="connsiteY8" fmla="*/ 268169 h 385063"/>
                  <a:gd name="connsiteX9" fmla="*/ 116895 w 2461662"/>
                  <a:gd name="connsiteY9" fmla="*/ 385063 h 385063"/>
                  <a:gd name="connsiteX10" fmla="*/ 330055 w 2461662"/>
                  <a:gd name="connsiteY10" fmla="*/ 385063 h 385063"/>
                  <a:gd name="connsiteX11" fmla="*/ 611978 w 2461662"/>
                  <a:gd name="connsiteY11" fmla="*/ 103142 h 385063"/>
                  <a:gd name="connsiteX12" fmla="*/ 893900 w 2461662"/>
                  <a:gd name="connsiteY12" fmla="*/ 385063 h 385063"/>
                  <a:gd name="connsiteX13" fmla="*/ 935157 w 2461662"/>
                  <a:gd name="connsiteY13" fmla="*/ 385063 h 385063"/>
                  <a:gd name="connsiteX14" fmla="*/ 1217079 w 2461662"/>
                  <a:gd name="connsiteY14" fmla="*/ 103142 h 385063"/>
                  <a:gd name="connsiteX15" fmla="*/ 1499001 w 2461662"/>
                  <a:gd name="connsiteY15" fmla="*/ 385063 h 385063"/>
                  <a:gd name="connsiteX16" fmla="*/ 1547134 w 2461662"/>
                  <a:gd name="connsiteY16" fmla="*/ 385063 h 385063"/>
                  <a:gd name="connsiteX17" fmla="*/ 1822180 w 2461662"/>
                  <a:gd name="connsiteY17" fmla="*/ 103142 h 385063"/>
                  <a:gd name="connsiteX18" fmla="*/ 2104102 w 2461662"/>
                  <a:gd name="connsiteY18" fmla="*/ 385063 h 385063"/>
                  <a:gd name="connsiteX19" fmla="*/ 2344768 w 2461662"/>
                  <a:gd name="connsiteY19" fmla="*/ 385063 h 385063"/>
                  <a:gd name="connsiteX20" fmla="*/ 2461662 w 2461662"/>
                  <a:gd name="connsiteY20" fmla="*/ 268169 h 385063"/>
                  <a:gd name="connsiteX21" fmla="*/ 2461662 w 2461662"/>
                  <a:gd name="connsiteY21" fmla="*/ 0 h 3850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2461662" h="385063">
                    <a:moveTo>
                      <a:pt x="2406653" y="123770"/>
                    </a:moveTo>
                    <a:cubicBezTo>
                      <a:pt x="2406653" y="123770"/>
                      <a:pt x="2406653" y="123770"/>
                      <a:pt x="2406653" y="240667"/>
                    </a:cubicBezTo>
                    <a:cubicBezTo>
                      <a:pt x="2406653" y="240667"/>
                      <a:pt x="2406653" y="240667"/>
                      <a:pt x="2358520" y="240667"/>
                    </a:cubicBezTo>
                    <a:cubicBezTo>
                      <a:pt x="2337891" y="240667"/>
                      <a:pt x="2324139" y="226915"/>
                      <a:pt x="2324139" y="206286"/>
                    </a:cubicBezTo>
                    <a:cubicBezTo>
                      <a:pt x="2324139" y="206286"/>
                      <a:pt x="2324139" y="206286"/>
                      <a:pt x="2324139" y="165028"/>
                    </a:cubicBezTo>
                    <a:cubicBezTo>
                      <a:pt x="2324139" y="144399"/>
                      <a:pt x="2337891" y="123770"/>
                      <a:pt x="2358520" y="123770"/>
                    </a:cubicBezTo>
                    <a:close/>
                    <a:moveTo>
                      <a:pt x="2461662" y="0"/>
                    </a:moveTo>
                    <a:lnTo>
                      <a:pt x="0" y="0"/>
                    </a:lnTo>
                    <a:cubicBezTo>
                      <a:pt x="0" y="268169"/>
                      <a:pt x="0" y="268169"/>
                      <a:pt x="0" y="268169"/>
                    </a:cubicBezTo>
                    <a:cubicBezTo>
                      <a:pt x="0" y="330054"/>
                      <a:pt x="48133" y="385063"/>
                      <a:pt x="116895" y="385063"/>
                    </a:cubicBezTo>
                    <a:cubicBezTo>
                      <a:pt x="330055" y="385063"/>
                      <a:pt x="330055" y="385063"/>
                      <a:pt x="330055" y="385063"/>
                    </a:cubicBezTo>
                    <a:cubicBezTo>
                      <a:pt x="330055" y="233788"/>
                      <a:pt x="453826" y="103142"/>
                      <a:pt x="611978" y="103142"/>
                    </a:cubicBezTo>
                    <a:cubicBezTo>
                      <a:pt x="763253" y="103142"/>
                      <a:pt x="893900" y="233788"/>
                      <a:pt x="893900" y="385063"/>
                    </a:cubicBezTo>
                    <a:cubicBezTo>
                      <a:pt x="935157" y="385063"/>
                      <a:pt x="935157" y="385063"/>
                      <a:pt x="935157" y="385063"/>
                    </a:cubicBezTo>
                    <a:cubicBezTo>
                      <a:pt x="935157" y="233788"/>
                      <a:pt x="1065804" y="103142"/>
                      <a:pt x="1217079" y="103142"/>
                    </a:cubicBezTo>
                    <a:cubicBezTo>
                      <a:pt x="1375230" y="103142"/>
                      <a:pt x="1499001" y="233788"/>
                      <a:pt x="1499001" y="385063"/>
                    </a:cubicBezTo>
                    <a:cubicBezTo>
                      <a:pt x="1547134" y="385063"/>
                      <a:pt x="1547134" y="385063"/>
                      <a:pt x="1547134" y="385063"/>
                    </a:cubicBezTo>
                    <a:cubicBezTo>
                      <a:pt x="1547134" y="233788"/>
                      <a:pt x="1670905" y="103142"/>
                      <a:pt x="1822180" y="103142"/>
                    </a:cubicBezTo>
                    <a:cubicBezTo>
                      <a:pt x="1980332" y="103142"/>
                      <a:pt x="2104102" y="233788"/>
                      <a:pt x="2104102" y="385063"/>
                    </a:cubicBezTo>
                    <a:cubicBezTo>
                      <a:pt x="2344768" y="385063"/>
                      <a:pt x="2344768" y="385063"/>
                      <a:pt x="2344768" y="385063"/>
                    </a:cubicBezTo>
                    <a:cubicBezTo>
                      <a:pt x="2406653" y="385063"/>
                      <a:pt x="2461662" y="330054"/>
                      <a:pt x="2461662" y="268169"/>
                    </a:cubicBezTo>
                    <a:cubicBezTo>
                      <a:pt x="2461662" y="0"/>
                      <a:pt x="2461662" y="0"/>
                      <a:pt x="2461662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defRPr/>
                </a:pPr>
                <a:endParaRPr lang="en-GB">
                  <a:solidFill>
                    <a:srgbClr val="000000"/>
                  </a:solidFill>
                  <a:latin typeface="Honeywell Sans" panose="02010503040101060203" pitchFamily="50" charset="0"/>
                </a:endParaRPr>
              </a:p>
            </p:txBody>
          </p:sp>
        </p:grpSp>
        <p:grpSp>
          <p:nvGrpSpPr>
            <p:cNvPr id="335" name="Group 334"/>
            <p:cNvGrpSpPr/>
            <p:nvPr/>
          </p:nvGrpSpPr>
          <p:grpSpPr>
            <a:xfrm>
              <a:off x="5539710" y="5812584"/>
              <a:ext cx="660400" cy="318894"/>
              <a:chOff x="5539710" y="5812584"/>
              <a:chExt cx="660400" cy="318894"/>
            </a:xfrm>
          </p:grpSpPr>
          <p:sp>
            <p:nvSpPr>
              <p:cNvPr id="357" name="Rectangle 356"/>
              <p:cNvSpPr/>
              <p:nvPr/>
            </p:nvSpPr>
            <p:spPr bwMode="auto">
              <a:xfrm flipH="1">
                <a:off x="5860366" y="5931515"/>
                <a:ext cx="331878" cy="144984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12699" cap="flat" cmpd="sng" algn="ctr">
                    <a:solidFill>
                      <a:schemeClr val="tx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none" lIns="90488" tIns="44450" rIns="90488" bIns="44450" numCol="1" rtlCol="0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defRPr/>
                </a:pPr>
                <a:endParaRPr lang="en-GB" b="1" kern="0" dirty="0">
                  <a:solidFill>
                    <a:srgbClr val="000000"/>
                  </a:solidFill>
                  <a:latin typeface="Honeywell Sans" panose="02010503040101060203" pitchFamily="50" charset="0"/>
                  <a:cs typeface="Arial" pitchFamily="34" charset="0"/>
                </a:endParaRPr>
              </a:p>
            </p:txBody>
          </p:sp>
          <p:sp>
            <p:nvSpPr>
              <p:cNvPr id="358" name="Rectangle 357"/>
              <p:cNvSpPr>
                <a:spLocks/>
              </p:cNvSpPr>
              <p:nvPr/>
            </p:nvSpPr>
            <p:spPr bwMode="auto">
              <a:xfrm flipH="1">
                <a:off x="5573166" y="5836440"/>
                <a:ext cx="372322" cy="281297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solidFill>
                  <a:schemeClr val="bg1">
                    <a:lumMod val="65000"/>
                  </a:schemeClr>
                </a:solidFill>
              </a:ln>
              <a:effectLst/>
              <a:extLst/>
            </p:spPr>
            <p:txBody>
              <a:bodyPr vert="horz" wrap="none" lIns="90488" tIns="44450" rIns="90488" bIns="44450" numCol="1" rtlCol="0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defRPr/>
                </a:pPr>
                <a:endParaRPr lang="en-US" b="1" kern="0" dirty="0">
                  <a:solidFill>
                    <a:srgbClr val="000000"/>
                  </a:solidFill>
                  <a:latin typeface="Honeywell Sans" panose="02010503040101060203" pitchFamily="50" charset="0"/>
                  <a:cs typeface="Arial" pitchFamily="34" charset="0"/>
                </a:endParaRPr>
              </a:p>
            </p:txBody>
          </p:sp>
          <p:grpSp>
            <p:nvGrpSpPr>
              <p:cNvPr id="359" name="Group 71"/>
              <p:cNvGrpSpPr>
                <a:grpSpLocks/>
              </p:cNvGrpSpPr>
              <p:nvPr/>
            </p:nvGrpSpPr>
            <p:grpSpPr>
              <a:xfrm flipH="1">
                <a:off x="5573166" y="5812584"/>
                <a:ext cx="372322" cy="23078"/>
                <a:chOff x="1948497" y="5100638"/>
                <a:chExt cx="1713866" cy="126992"/>
              </a:xfrm>
            </p:grpSpPr>
            <p:sp>
              <p:nvSpPr>
                <p:cNvPr id="362" name="Rectangle 361"/>
                <p:cNvSpPr/>
                <p:nvPr/>
              </p:nvSpPr>
              <p:spPr bwMode="auto">
                <a:xfrm>
                  <a:off x="1948497" y="5100638"/>
                  <a:ext cx="285116" cy="126992"/>
                </a:xfrm>
                <a:prstGeom prst="rect">
                  <a:avLst/>
                </a:prstGeom>
                <a:noFill/>
                <a:ln>
                  <a:solidFill>
                    <a:schemeClr val="bg1">
                      <a:lumMod val="65000"/>
                    </a:schemeClr>
                  </a:solidFill>
                </a:ln>
                <a:effectLst/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0005FF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horz" wrap="none" lIns="90488" tIns="44450" rIns="90488" bIns="4445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lnSpc>
                      <a:spcPct val="110000"/>
                    </a:lnSpc>
                    <a:defRPr/>
                  </a:pPr>
                  <a:endParaRPr lang="en-US" b="1" kern="0" dirty="0">
                    <a:solidFill>
                      <a:srgbClr val="000000"/>
                    </a:solidFill>
                    <a:latin typeface="Honeywell Sans" panose="02010503040101060203" pitchFamily="50" charset="0"/>
                    <a:cs typeface="Arial" pitchFamily="34" charset="0"/>
                  </a:endParaRPr>
                </a:p>
              </p:txBody>
            </p:sp>
            <p:sp>
              <p:nvSpPr>
                <p:cNvPr id="363" name="Rectangle 362"/>
                <p:cNvSpPr/>
                <p:nvPr/>
              </p:nvSpPr>
              <p:spPr bwMode="auto">
                <a:xfrm>
                  <a:off x="2234247" y="5100638"/>
                  <a:ext cx="285116" cy="126992"/>
                </a:xfrm>
                <a:prstGeom prst="rect">
                  <a:avLst/>
                </a:prstGeom>
                <a:noFill/>
                <a:ln>
                  <a:solidFill>
                    <a:schemeClr val="bg1">
                      <a:lumMod val="65000"/>
                    </a:schemeClr>
                  </a:solidFill>
                </a:ln>
                <a:effectLst/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0005FF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horz" wrap="none" lIns="90488" tIns="44450" rIns="90488" bIns="4445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lnSpc>
                      <a:spcPct val="110000"/>
                    </a:lnSpc>
                    <a:defRPr/>
                  </a:pPr>
                  <a:endParaRPr lang="en-US" b="1" kern="0" dirty="0">
                    <a:solidFill>
                      <a:srgbClr val="000000"/>
                    </a:solidFill>
                    <a:latin typeface="Honeywell Sans" panose="02010503040101060203" pitchFamily="50" charset="0"/>
                    <a:cs typeface="Arial" pitchFamily="34" charset="0"/>
                  </a:endParaRPr>
                </a:p>
              </p:txBody>
            </p:sp>
            <p:sp>
              <p:nvSpPr>
                <p:cNvPr id="364" name="Rectangle 363"/>
                <p:cNvSpPr/>
                <p:nvPr/>
              </p:nvSpPr>
              <p:spPr bwMode="auto">
                <a:xfrm>
                  <a:off x="2519997" y="5100638"/>
                  <a:ext cx="285116" cy="126992"/>
                </a:xfrm>
                <a:prstGeom prst="rect">
                  <a:avLst/>
                </a:prstGeom>
                <a:noFill/>
                <a:ln>
                  <a:solidFill>
                    <a:schemeClr val="bg1">
                      <a:lumMod val="65000"/>
                    </a:schemeClr>
                  </a:solidFill>
                </a:ln>
                <a:effectLst/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0005FF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horz" wrap="none" lIns="90488" tIns="44450" rIns="90488" bIns="4445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lnSpc>
                      <a:spcPct val="110000"/>
                    </a:lnSpc>
                    <a:defRPr/>
                  </a:pPr>
                  <a:endParaRPr lang="en-US" b="1" kern="0" dirty="0">
                    <a:solidFill>
                      <a:srgbClr val="000000"/>
                    </a:solidFill>
                    <a:latin typeface="Honeywell Sans" panose="02010503040101060203" pitchFamily="50" charset="0"/>
                    <a:cs typeface="Arial" pitchFamily="34" charset="0"/>
                  </a:endParaRPr>
                </a:p>
              </p:txBody>
            </p:sp>
            <p:sp>
              <p:nvSpPr>
                <p:cNvPr id="365" name="Rectangle 364"/>
                <p:cNvSpPr/>
                <p:nvPr/>
              </p:nvSpPr>
              <p:spPr bwMode="auto">
                <a:xfrm>
                  <a:off x="2805747" y="5100638"/>
                  <a:ext cx="285116" cy="126992"/>
                </a:xfrm>
                <a:prstGeom prst="rect">
                  <a:avLst/>
                </a:prstGeom>
                <a:noFill/>
                <a:ln>
                  <a:solidFill>
                    <a:schemeClr val="bg1">
                      <a:lumMod val="65000"/>
                    </a:schemeClr>
                  </a:solidFill>
                </a:ln>
                <a:effectLst/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0005FF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horz" wrap="none" lIns="90488" tIns="44450" rIns="90488" bIns="4445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lnSpc>
                      <a:spcPct val="110000"/>
                    </a:lnSpc>
                    <a:defRPr/>
                  </a:pPr>
                  <a:endParaRPr lang="en-US" b="1" kern="0" dirty="0">
                    <a:solidFill>
                      <a:srgbClr val="000000"/>
                    </a:solidFill>
                    <a:latin typeface="Honeywell Sans" panose="02010503040101060203" pitchFamily="50" charset="0"/>
                    <a:cs typeface="Arial" pitchFamily="34" charset="0"/>
                  </a:endParaRPr>
                </a:p>
              </p:txBody>
            </p:sp>
            <p:sp>
              <p:nvSpPr>
                <p:cNvPr id="366" name="Rectangle 365"/>
                <p:cNvSpPr/>
                <p:nvPr/>
              </p:nvSpPr>
              <p:spPr bwMode="auto">
                <a:xfrm>
                  <a:off x="3091497" y="5100638"/>
                  <a:ext cx="285116" cy="126992"/>
                </a:xfrm>
                <a:prstGeom prst="rect">
                  <a:avLst/>
                </a:prstGeom>
                <a:noFill/>
                <a:ln>
                  <a:solidFill>
                    <a:schemeClr val="bg1">
                      <a:lumMod val="65000"/>
                    </a:schemeClr>
                  </a:solidFill>
                </a:ln>
                <a:effectLst/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0005FF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horz" wrap="none" lIns="90488" tIns="44450" rIns="90488" bIns="4445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lnSpc>
                      <a:spcPct val="110000"/>
                    </a:lnSpc>
                    <a:defRPr/>
                  </a:pPr>
                  <a:endParaRPr lang="en-US" b="1" kern="0" dirty="0">
                    <a:solidFill>
                      <a:srgbClr val="000000"/>
                    </a:solidFill>
                    <a:latin typeface="Honeywell Sans" panose="02010503040101060203" pitchFamily="50" charset="0"/>
                    <a:cs typeface="Arial" pitchFamily="34" charset="0"/>
                  </a:endParaRPr>
                </a:p>
              </p:txBody>
            </p:sp>
            <p:sp>
              <p:nvSpPr>
                <p:cNvPr id="367" name="Rectangle 366"/>
                <p:cNvSpPr/>
                <p:nvPr/>
              </p:nvSpPr>
              <p:spPr bwMode="auto">
                <a:xfrm>
                  <a:off x="3377247" y="5100638"/>
                  <a:ext cx="285116" cy="126992"/>
                </a:xfrm>
                <a:prstGeom prst="rect">
                  <a:avLst/>
                </a:prstGeom>
                <a:noFill/>
                <a:ln>
                  <a:solidFill>
                    <a:schemeClr val="bg1">
                      <a:lumMod val="65000"/>
                    </a:schemeClr>
                  </a:solidFill>
                </a:ln>
                <a:effectLst/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0005FF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horz" wrap="none" lIns="90488" tIns="44450" rIns="90488" bIns="4445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lnSpc>
                      <a:spcPct val="110000"/>
                    </a:lnSpc>
                    <a:defRPr/>
                  </a:pPr>
                  <a:endParaRPr lang="en-US" b="1" kern="0" dirty="0">
                    <a:solidFill>
                      <a:srgbClr val="000000"/>
                    </a:solidFill>
                    <a:latin typeface="Honeywell Sans" panose="02010503040101060203" pitchFamily="50" charset="0"/>
                    <a:cs typeface="Arial" pitchFamily="34" charset="0"/>
                  </a:endParaRPr>
                </a:p>
              </p:txBody>
            </p:sp>
          </p:grpSp>
          <p:sp>
            <p:nvSpPr>
              <p:cNvPr id="360" name="Freeform 359"/>
              <p:cNvSpPr>
                <a:spLocks/>
              </p:cNvSpPr>
              <p:nvPr/>
            </p:nvSpPr>
            <p:spPr bwMode="auto">
              <a:xfrm flipH="1">
                <a:off x="5865992" y="5857288"/>
                <a:ext cx="304455" cy="269217"/>
              </a:xfrm>
              <a:custGeom>
                <a:avLst/>
                <a:gdLst>
                  <a:gd name="connsiteX0" fmla="*/ 0 w 2101851"/>
                  <a:gd name="connsiteY0" fmla="*/ 0 h 1073150"/>
                  <a:gd name="connsiteX1" fmla="*/ 2101851 w 2101851"/>
                  <a:gd name="connsiteY1" fmla="*/ 0 h 1073150"/>
                  <a:gd name="connsiteX2" fmla="*/ 2101851 w 2101851"/>
                  <a:gd name="connsiteY2" fmla="*/ 1073150 h 1073150"/>
                  <a:gd name="connsiteX3" fmla="*/ 0 w 2101851"/>
                  <a:gd name="connsiteY3" fmla="*/ 1073150 h 1073150"/>
                  <a:gd name="connsiteX4" fmla="*/ 0 w 2101851"/>
                  <a:gd name="connsiteY4" fmla="*/ 0 h 1073150"/>
                  <a:gd name="connsiteX0" fmla="*/ 0 w 2101851"/>
                  <a:gd name="connsiteY0" fmla="*/ 139700 h 1212850"/>
                  <a:gd name="connsiteX1" fmla="*/ 1047750 w 2101851"/>
                  <a:gd name="connsiteY1" fmla="*/ 0 h 1212850"/>
                  <a:gd name="connsiteX2" fmla="*/ 2101851 w 2101851"/>
                  <a:gd name="connsiteY2" fmla="*/ 139700 h 1212850"/>
                  <a:gd name="connsiteX3" fmla="*/ 2101851 w 2101851"/>
                  <a:gd name="connsiteY3" fmla="*/ 1212850 h 1212850"/>
                  <a:gd name="connsiteX4" fmla="*/ 0 w 2101851"/>
                  <a:gd name="connsiteY4" fmla="*/ 1212850 h 1212850"/>
                  <a:gd name="connsiteX5" fmla="*/ 0 w 2101851"/>
                  <a:gd name="connsiteY5" fmla="*/ 139700 h 1212850"/>
                  <a:gd name="connsiteX0" fmla="*/ 0 w 2101851"/>
                  <a:gd name="connsiteY0" fmla="*/ 202142 h 1275292"/>
                  <a:gd name="connsiteX1" fmla="*/ 1047750 w 2101851"/>
                  <a:gd name="connsiteY1" fmla="*/ 62442 h 1275292"/>
                  <a:gd name="connsiteX2" fmla="*/ 2101851 w 2101851"/>
                  <a:gd name="connsiteY2" fmla="*/ 202142 h 1275292"/>
                  <a:gd name="connsiteX3" fmla="*/ 2101851 w 2101851"/>
                  <a:gd name="connsiteY3" fmla="*/ 1275292 h 1275292"/>
                  <a:gd name="connsiteX4" fmla="*/ 0 w 2101851"/>
                  <a:gd name="connsiteY4" fmla="*/ 1275292 h 1275292"/>
                  <a:gd name="connsiteX5" fmla="*/ 0 w 2101851"/>
                  <a:gd name="connsiteY5" fmla="*/ 202142 h 1275292"/>
                  <a:gd name="connsiteX0" fmla="*/ 0 w 2101851"/>
                  <a:gd name="connsiteY0" fmla="*/ 202142 h 1275292"/>
                  <a:gd name="connsiteX1" fmla="*/ 1047750 w 2101851"/>
                  <a:gd name="connsiteY1" fmla="*/ 62442 h 1275292"/>
                  <a:gd name="connsiteX2" fmla="*/ 2101851 w 2101851"/>
                  <a:gd name="connsiteY2" fmla="*/ 202142 h 1275292"/>
                  <a:gd name="connsiteX3" fmla="*/ 2101851 w 2101851"/>
                  <a:gd name="connsiteY3" fmla="*/ 1275292 h 1275292"/>
                  <a:gd name="connsiteX4" fmla="*/ 0 w 2101851"/>
                  <a:gd name="connsiteY4" fmla="*/ 1275292 h 1275292"/>
                  <a:gd name="connsiteX5" fmla="*/ 0 w 2101851"/>
                  <a:gd name="connsiteY5" fmla="*/ 202142 h 1275292"/>
                  <a:gd name="connsiteX0" fmla="*/ 0 w 2101851"/>
                  <a:gd name="connsiteY0" fmla="*/ 139700 h 1212850"/>
                  <a:gd name="connsiteX1" fmla="*/ 1047750 w 2101851"/>
                  <a:gd name="connsiteY1" fmla="*/ 0 h 1212850"/>
                  <a:gd name="connsiteX2" fmla="*/ 2101851 w 2101851"/>
                  <a:gd name="connsiteY2" fmla="*/ 139700 h 1212850"/>
                  <a:gd name="connsiteX3" fmla="*/ 2101851 w 2101851"/>
                  <a:gd name="connsiteY3" fmla="*/ 1212850 h 1212850"/>
                  <a:gd name="connsiteX4" fmla="*/ 0 w 2101851"/>
                  <a:gd name="connsiteY4" fmla="*/ 1212850 h 1212850"/>
                  <a:gd name="connsiteX5" fmla="*/ 0 w 2101851"/>
                  <a:gd name="connsiteY5" fmla="*/ 139700 h 1212850"/>
                  <a:gd name="connsiteX0" fmla="*/ 0 w 2101851"/>
                  <a:gd name="connsiteY0" fmla="*/ 139700 h 1212850"/>
                  <a:gd name="connsiteX1" fmla="*/ 1047750 w 2101851"/>
                  <a:gd name="connsiteY1" fmla="*/ 0 h 1212850"/>
                  <a:gd name="connsiteX2" fmla="*/ 2101851 w 2101851"/>
                  <a:gd name="connsiteY2" fmla="*/ 139700 h 1212850"/>
                  <a:gd name="connsiteX3" fmla="*/ 2101851 w 2101851"/>
                  <a:gd name="connsiteY3" fmla="*/ 1212850 h 1212850"/>
                  <a:gd name="connsiteX4" fmla="*/ 0 w 2101851"/>
                  <a:gd name="connsiteY4" fmla="*/ 1212850 h 1212850"/>
                  <a:gd name="connsiteX5" fmla="*/ 0 w 2101851"/>
                  <a:gd name="connsiteY5" fmla="*/ 139700 h 1212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101851" h="1212850">
                    <a:moveTo>
                      <a:pt x="0" y="139700"/>
                    </a:moveTo>
                    <a:cubicBezTo>
                      <a:pt x="66675" y="83608"/>
                      <a:pt x="697442" y="0"/>
                      <a:pt x="1047750" y="0"/>
                    </a:cubicBezTo>
                    <a:cubicBezTo>
                      <a:pt x="1398058" y="0"/>
                      <a:pt x="1907118" y="77258"/>
                      <a:pt x="2101851" y="139700"/>
                    </a:cubicBezTo>
                    <a:lnTo>
                      <a:pt x="2101851" y="1212850"/>
                    </a:lnTo>
                    <a:lnTo>
                      <a:pt x="0" y="1212850"/>
                    </a:lnTo>
                    <a:lnTo>
                      <a:pt x="0" y="139700"/>
                    </a:ln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  <a:ln>
                <a:solidFill>
                  <a:schemeClr val="bg1"/>
                </a:solidFill>
              </a:ln>
              <a:effectLst/>
              <a:extLst/>
            </p:spPr>
            <p:txBody>
              <a:bodyPr vert="horz" wrap="none" lIns="90488" tIns="44450" rIns="90488" bIns="44450" numCol="1" rtlCol="0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defRPr/>
                </a:pPr>
                <a:endParaRPr lang="en-US" b="1" kern="0" dirty="0">
                  <a:solidFill>
                    <a:srgbClr val="000000"/>
                  </a:solidFill>
                  <a:latin typeface="Honeywell Sans" panose="02010503040101060203" pitchFamily="50" charset="0"/>
                  <a:cs typeface="Arial" pitchFamily="34" charset="0"/>
                </a:endParaRPr>
              </a:p>
            </p:txBody>
          </p:sp>
          <p:cxnSp>
            <p:nvCxnSpPr>
              <p:cNvPr id="361" name="Straight Connector 360"/>
              <p:cNvCxnSpPr/>
              <p:nvPr/>
            </p:nvCxnSpPr>
            <p:spPr bwMode="auto">
              <a:xfrm>
                <a:off x="5539710" y="6131478"/>
                <a:ext cx="660400" cy="0"/>
              </a:xfrm>
              <a:prstGeom prst="line">
                <a:avLst/>
              </a:prstGeom>
              <a:noFill/>
              <a:ln w="28575" cap="rnd">
                <a:solidFill>
                  <a:schemeClr val="tx1">
                    <a:lumMod val="65000"/>
                    <a:lumOff val="35000"/>
                  </a:schemeClr>
                </a:solidFill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rgbClr val="0005FF"/>
                    </a:solidFill>
                  </a14:hiddenFill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cxnSp>
          <p:nvCxnSpPr>
            <p:cNvPr id="336" name="Straight Connector 335"/>
            <p:cNvCxnSpPr/>
            <p:nvPr/>
          </p:nvCxnSpPr>
          <p:spPr>
            <a:xfrm>
              <a:off x="3171160" y="5998670"/>
              <a:ext cx="488950" cy="0"/>
            </a:xfrm>
            <a:prstGeom prst="line">
              <a:avLst/>
            </a:prstGeom>
            <a:ln w="25400" cmpd="sng">
              <a:solidFill>
                <a:schemeClr val="tx2"/>
              </a:solidFill>
              <a:prstDash val="sysDot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7" name="Straight Connector 336"/>
            <p:cNvCxnSpPr/>
            <p:nvPr/>
          </p:nvCxnSpPr>
          <p:spPr>
            <a:xfrm>
              <a:off x="4999960" y="5998670"/>
              <a:ext cx="488950" cy="0"/>
            </a:xfrm>
            <a:prstGeom prst="line">
              <a:avLst/>
            </a:prstGeom>
            <a:ln w="25400" cmpd="sng">
              <a:solidFill>
                <a:schemeClr val="tx2"/>
              </a:solidFill>
              <a:prstDash val="sysDot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8" name="Straight Connector 337"/>
            <p:cNvCxnSpPr/>
            <p:nvPr/>
          </p:nvCxnSpPr>
          <p:spPr>
            <a:xfrm>
              <a:off x="6181060" y="5998670"/>
              <a:ext cx="1270000" cy="0"/>
            </a:xfrm>
            <a:prstGeom prst="line">
              <a:avLst/>
            </a:prstGeom>
            <a:ln w="25400" cmpd="sng">
              <a:solidFill>
                <a:schemeClr val="tx2"/>
              </a:solidFill>
              <a:prstDash val="sysDot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39" name="Group 338"/>
            <p:cNvGrpSpPr/>
            <p:nvPr/>
          </p:nvGrpSpPr>
          <p:grpSpPr>
            <a:xfrm>
              <a:off x="7447364" y="5783013"/>
              <a:ext cx="887934" cy="348465"/>
              <a:chOff x="7447364" y="5783013"/>
              <a:chExt cx="887934" cy="348465"/>
            </a:xfrm>
          </p:grpSpPr>
          <p:grpSp>
            <p:nvGrpSpPr>
              <p:cNvPr id="340" name="Group 339"/>
              <p:cNvGrpSpPr/>
              <p:nvPr/>
            </p:nvGrpSpPr>
            <p:grpSpPr>
              <a:xfrm flipH="1">
                <a:off x="7476459" y="5783013"/>
                <a:ext cx="546496" cy="335556"/>
                <a:chOff x="1742309" y="8874677"/>
                <a:chExt cx="797691" cy="489793"/>
              </a:xfrm>
              <a:solidFill>
                <a:schemeClr val="bg1">
                  <a:lumMod val="65000"/>
                </a:schemeClr>
              </a:solidFill>
            </p:grpSpPr>
            <p:grpSp>
              <p:nvGrpSpPr>
                <p:cNvPr id="348" name="Group 549"/>
                <p:cNvGrpSpPr/>
                <p:nvPr/>
              </p:nvGrpSpPr>
              <p:grpSpPr>
                <a:xfrm flipH="1">
                  <a:off x="1791678" y="8874677"/>
                  <a:ext cx="748322" cy="489793"/>
                  <a:chOff x="7805202" y="6447330"/>
                  <a:chExt cx="1111819" cy="727709"/>
                </a:xfrm>
                <a:grpFill/>
              </p:grpSpPr>
              <p:sp>
                <p:nvSpPr>
                  <p:cNvPr id="352" name="Freeform 167"/>
                  <p:cNvSpPr>
                    <a:spLocks noEditPoints="1"/>
                  </p:cNvSpPr>
                  <p:nvPr/>
                </p:nvSpPr>
                <p:spPr bwMode="auto">
                  <a:xfrm>
                    <a:off x="8458200" y="6528930"/>
                    <a:ext cx="458821" cy="325524"/>
                  </a:xfrm>
                  <a:custGeom>
                    <a:avLst/>
                    <a:gdLst/>
                    <a:ahLst/>
                    <a:cxnLst>
                      <a:cxn ang="0">
                        <a:pos x="331" y="25"/>
                      </a:cxn>
                      <a:cxn ang="0">
                        <a:pos x="251" y="12"/>
                      </a:cxn>
                      <a:cxn ang="0">
                        <a:pos x="243" y="7"/>
                      </a:cxn>
                      <a:cxn ang="0">
                        <a:pos x="231" y="5"/>
                      </a:cxn>
                      <a:cxn ang="0">
                        <a:pos x="225" y="18"/>
                      </a:cxn>
                      <a:cxn ang="0">
                        <a:pos x="221" y="3"/>
                      </a:cxn>
                      <a:cxn ang="0">
                        <a:pos x="212" y="23"/>
                      </a:cxn>
                      <a:cxn ang="0">
                        <a:pos x="209" y="13"/>
                      </a:cxn>
                      <a:cxn ang="0">
                        <a:pos x="197" y="11"/>
                      </a:cxn>
                      <a:cxn ang="0">
                        <a:pos x="184" y="32"/>
                      </a:cxn>
                      <a:cxn ang="0">
                        <a:pos x="176" y="29"/>
                      </a:cxn>
                      <a:cxn ang="0">
                        <a:pos x="132" y="15"/>
                      </a:cxn>
                      <a:cxn ang="0">
                        <a:pos x="87" y="26"/>
                      </a:cxn>
                      <a:cxn ang="0">
                        <a:pos x="77" y="52"/>
                      </a:cxn>
                      <a:cxn ang="0">
                        <a:pos x="57" y="90"/>
                      </a:cxn>
                      <a:cxn ang="0">
                        <a:pos x="3" y="170"/>
                      </a:cxn>
                      <a:cxn ang="0">
                        <a:pos x="3" y="177"/>
                      </a:cxn>
                      <a:cxn ang="0">
                        <a:pos x="40" y="213"/>
                      </a:cxn>
                      <a:cxn ang="0">
                        <a:pos x="52" y="209"/>
                      </a:cxn>
                      <a:cxn ang="0">
                        <a:pos x="97" y="230"/>
                      </a:cxn>
                      <a:cxn ang="0">
                        <a:pos x="149" y="158"/>
                      </a:cxn>
                      <a:cxn ang="0">
                        <a:pos x="155" y="149"/>
                      </a:cxn>
                      <a:cxn ang="0">
                        <a:pos x="92" y="120"/>
                      </a:cxn>
                      <a:cxn ang="0">
                        <a:pos x="93" y="124"/>
                      </a:cxn>
                      <a:cxn ang="0">
                        <a:pos x="94" y="143"/>
                      </a:cxn>
                      <a:cxn ang="0">
                        <a:pos x="75" y="208"/>
                      </a:cxn>
                      <a:cxn ang="0">
                        <a:pos x="89" y="104"/>
                      </a:cxn>
                      <a:cxn ang="0">
                        <a:pos x="171" y="128"/>
                      </a:cxn>
                      <a:cxn ang="0">
                        <a:pos x="180" y="112"/>
                      </a:cxn>
                      <a:cxn ang="0">
                        <a:pos x="189" y="67"/>
                      </a:cxn>
                      <a:cxn ang="0">
                        <a:pos x="194" y="69"/>
                      </a:cxn>
                      <a:cxn ang="0">
                        <a:pos x="201" y="64"/>
                      </a:cxn>
                      <a:cxn ang="0">
                        <a:pos x="206" y="56"/>
                      </a:cxn>
                      <a:cxn ang="0">
                        <a:pos x="211" y="66"/>
                      </a:cxn>
                      <a:cxn ang="0">
                        <a:pos x="218" y="61"/>
                      </a:cxn>
                      <a:cxn ang="0">
                        <a:pos x="224" y="50"/>
                      </a:cxn>
                      <a:cxn ang="0">
                        <a:pos x="228" y="63"/>
                      </a:cxn>
                      <a:cxn ang="0">
                        <a:pos x="235" y="58"/>
                      </a:cxn>
                      <a:cxn ang="0">
                        <a:pos x="248" y="42"/>
                      </a:cxn>
                      <a:cxn ang="0">
                        <a:pos x="329" y="43"/>
                      </a:cxn>
                      <a:cxn ang="0">
                        <a:pos x="100" y="153"/>
                      </a:cxn>
                      <a:cxn ang="0">
                        <a:pos x="129" y="162"/>
                      </a:cxn>
                      <a:cxn ang="0">
                        <a:pos x="96" y="212"/>
                      </a:cxn>
                      <a:cxn ang="0">
                        <a:pos x="85" y="217"/>
                      </a:cxn>
                    </a:cxnLst>
                    <a:rect l="0" t="0" r="r" b="b"/>
                    <a:pathLst>
                      <a:path w="331" h="234">
                        <a:moveTo>
                          <a:pt x="329" y="43"/>
                        </a:moveTo>
                        <a:cubicBezTo>
                          <a:pt x="331" y="25"/>
                          <a:pt x="331" y="25"/>
                          <a:pt x="331" y="25"/>
                        </a:cubicBezTo>
                        <a:cubicBezTo>
                          <a:pt x="331" y="22"/>
                          <a:pt x="329" y="19"/>
                          <a:pt x="325" y="19"/>
                        </a:cubicBezTo>
                        <a:cubicBezTo>
                          <a:pt x="251" y="12"/>
                          <a:pt x="251" y="12"/>
                          <a:pt x="251" y="12"/>
                        </a:cubicBezTo>
                        <a:cubicBezTo>
                          <a:pt x="248" y="12"/>
                          <a:pt x="245" y="12"/>
                          <a:pt x="242" y="13"/>
                        </a:cubicBezTo>
                        <a:cubicBezTo>
                          <a:pt x="243" y="7"/>
                          <a:pt x="243" y="7"/>
                          <a:pt x="243" y="7"/>
                        </a:cubicBezTo>
                        <a:cubicBezTo>
                          <a:pt x="244" y="4"/>
                          <a:pt x="241" y="1"/>
                          <a:pt x="238" y="1"/>
                        </a:cubicBezTo>
                        <a:cubicBezTo>
                          <a:pt x="235" y="0"/>
                          <a:pt x="232" y="2"/>
                          <a:pt x="231" y="5"/>
                        </a:cubicBezTo>
                        <a:cubicBezTo>
                          <a:pt x="229" y="17"/>
                          <a:pt x="229" y="17"/>
                          <a:pt x="229" y="17"/>
                        </a:cubicBezTo>
                        <a:cubicBezTo>
                          <a:pt x="225" y="18"/>
                          <a:pt x="225" y="18"/>
                          <a:pt x="225" y="18"/>
                        </a:cubicBezTo>
                        <a:cubicBezTo>
                          <a:pt x="226" y="10"/>
                          <a:pt x="226" y="10"/>
                          <a:pt x="226" y="10"/>
                        </a:cubicBezTo>
                        <a:cubicBezTo>
                          <a:pt x="227" y="7"/>
                          <a:pt x="224" y="4"/>
                          <a:pt x="221" y="3"/>
                        </a:cubicBezTo>
                        <a:cubicBezTo>
                          <a:pt x="218" y="3"/>
                          <a:pt x="215" y="5"/>
                          <a:pt x="214" y="8"/>
                        </a:cubicBezTo>
                        <a:cubicBezTo>
                          <a:pt x="212" y="23"/>
                          <a:pt x="212" y="23"/>
                          <a:pt x="212" y="23"/>
                        </a:cubicBezTo>
                        <a:cubicBezTo>
                          <a:pt x="207" y="24"/>
                          <a:pt x="207" y="24"/>
                          <a:pt x="207" y="24"/>
                        </a:cubicBezTo>
                        <a:cubicBezTo>
                          <a:pt x="209" y="13"/>
                          <a:pt x="209" y="13"/>
                          <a:pt x="209" y="13"/>
                        </a:cubicBezTo>
                        <a:cubicBezTo>
                          <a:pt x="210" y="10"/>
                          <a:pt x="207" y="7"/>
                          <a:pt x="204" y="6"/>
                        </a:cubicBezTo>
                        <a:cubicBezTo>
                          <a:pt x="201" y="5"/>
                          <a:pt x="198" y="8"/>
                          <a:pt x="197" y="11"/>
                        </a:cubicBezTo>
                        <a:cubicBezTo>
                          <a:pt x="194" y="28"/>
                          <a:pt x="194" y="28"/>
                          <a:pt x="194" y="28"/>
                        </a:cubicBezTo>
                        <a:cubicBezTo>
                          <a:pt x="184" y="32"/>
                          <a:pt x="184" y="32"/>
                          <a:pt x="184" y="32"/>
                        </a:cubicBezTo>
                        <a:cubicBezTo>
                          <a:pt x="184" y="32"/>
                          <a:pt x="183" y="32"/>
                          <a:pt x="183" y="32"/>
                        </a:cubicBezTo>
                        <a:cubicBezTo>
                          <a:pt x="182" y="30"/>
                          <a:pt x="179" y="28"/>
                          <a:pt x="176" y="29"/>
                        </a:cubicBezTo>
                        <a:cubicBezTo>
                          <a:pt x="158" y="33"/>
                          <a:pt x="158" y="33"/>
                          <a:pt x="158" y="33"/>
                        </a:cubicBezTo>
                        <a:cubicBezTo>
                          <a:pt x="132" y="15"/>
                          <a:pt x="132" y="15"/>
                          <a:pt x="132" y="15"/>
                        </a:cubicBezTo>
                        <a:cubicBezTo>
                          <a:pt x="129" y="13"/>
                          <a:pt x="125" y="13"/>
                          <a:pt x="122" y="14"/>
                        </a:cubicBezTo>
                        <a:cubicBezTo>
                          <a:pt x="87" y="26"/>
                          <a:pt x="87" y="26"/>
                          <a:pt x="87" y="26"/>
                        </a:cubicBezTo>
                        <a:cubicBezTo>
                          <a:pt x="84" y="28"/>
                          <a:pt x="81" y="31"/>
                          <a:pt x="81" y="34"/>
                        </a:cubicBezTo>
                        <a:cubicBezTo>
                          <a:pt x="77" y="52"/>
                          <a:pt x="77" y="52"/>
                          <a:pt x="77" y="52"/>
                        </a:cubicBezTo>
                        <a:cubicBezTo>
                          <a:pt x="56" y="82"/>
                          <a:pt x="56" y="82"/>
                          <a:pt x="56" y="82"/>
                        </a:cubicBezTo>
                        <a:cubicBezTo>
                          <a:pt x="54" y="84"/>
                          <a:pt x="55" y="88"/>
                          <a:pt x="57" y="90"/>
                        </a:cubicBezTo>
                        <a:cubicBezTo>
                          <a:pt x="60" y="93"/>
                          <a:pt x="60" y="93"/>
                          <a:pt x="60" y="93"/>
                        </a:cubicBezTo>
                        <a:cubicBezTo>
                          <a:pt x="3" y="170"/>
                          <a:pt x="3" y="170"/>
                          <a:pt x="3" y="170"/>
                        </a:cubicBezTo>
                        <a:cubicBezTo>
                          <a:pt x="1" y="172"/>
                          <a:pt x="1" y="175"/>
                          <a:pt x="3" y="177"/>
                        </a:cubicBezTo>
                        <a:cubicBezTo>
                          <a:pt x="3" y="177"/>
                          <a:pt x="3" y="177"/>
                          <a:pt x="3" y="177"/>
                        </a:cubicBezTo>
                        <a:cubicBezTo>
                          <a:pt x="0" y="181"/>
                          <a:pt x="1" y="185"/>
                          <a:pt x="5" y="188"/>
                        </a:cubicBezTo>
                        <a:cubicBezTo>
                          <a:pt x="40" y="213"/>
                          <a:pt x="40" y="213"/>
                          <a:pt x="40" y="213"/>
                        </a:cubicBezTo>
                        <a:cubicBezTo>
                          <a:pt x="43" y="215"/>
                          <a:pt x="48" y="214"/>
                          <a:pt x="50" y="211"/>
                        </a:cubicBezTo>
                        <a:cubicBezTo>
                          <a:pt x="52" y="209"/>
                          <a:pt x="52" y="209"/>
                          <a:pt x="52" y="209"/>
                        </a:cubicBezTo>
                        <a:cubicBezTo>
                          <a:pt x="86" y="232"/>
                          <a:pt x="86" y="232"/>
                          <a:pt x="86" y="232"/>
                        </a:cubicBezTo>
                        <a:cubicBezTo>
                          <a:pt x="90" y="234"/>
                          <a:pt x="95" y="233"/>
                          <a:pt x="97" y="230"/>
                        </a:cubicBezTo>
                        <a:cubicBezTo>
                          <a:pt x="144" y="171"/>
                          <a:pt x="144" y="171"/>
                          <a:pt x="144" y="171"/>
                        </a:cubicBezTo>
                        <a:cubicBezTo>
                          <a:pt x="147" y="167"/>
                          <a:pt x="148" y="163"/>
                          <a:pt x="149" y="158"/>
                        </a:cubicBezTo>
                        <a:cubicBezTo>
                          <a:pt x="149" y="157"/>
                          <a:pt x="149" y="157"/>
                          <a:pt x="149" y="157"/>
                        </a:cubicBezTo>
                        <a:cubicBezTo>
                          <a:pt x="155" y="149"/>
                          <a:pt x="155" y="149"/>
                          <a:pt x="155" y="149"/>
                        </a:cubicBezTo>
                        <a:cubicBezTo>
                          <a:pt x="157" y="146"/>
                          <a:pt x="156" y="142"/>
                          <a:pt x="153" y="141"/>
                        </a:cubicBezTo>
                        <a:cubicBezTo>
                          <a:pt x="92" y="120"/>
                          <a:pt x="92" y="120"/>
                          <a:pt x="92" y="120"/>
                        </a:cubicBezTo>
                        <a:cubicBezTo>
                          <a:pt x="91" y="120"/>
                          <a:pt x="91" y="121"/>
                          <a:pt x="91" y="121"/>
                        </a:cubicBezTo>
                        <a:cubicBezTo>
                          <a:pt x="92" y="122"/>
                          <a:pt x="92" y="123"/>
                          <a:pt x="93" y="124"/>
                        </a:cubicBezTo>
                        <a:cubicBezTo>
                          <a:pt x="107" y="139"/>
                          <a:pt x="107" y="139"/>
                          <a:pt x="107" y="139"/>
                        </a:cubicBezTo>
                        <a:cubicBezTo>
                          <a:pt x="94" y="143"/>
                          <a:pt x="94" y="143"/>
                          <a:pt x="94" y="143"/>
                        </a:cubicBezTo>
                        <a:cubicBezTo>
                          <a:pt x="91" y="143"/>
                          <a:pt x="89" y="146"/>
                          <a:pt x="89" y="148"/>
                        </a:cubicBezTo>
                        <a:cubicBezTo>
                          <a:pt x="75" y="208"/>
                          <a:pt x="75" y="208"/>
                          <a:pt x="75" y="208"/>
                        </a:cubicBezTo>
                        <a:cubicBezTo>
                          <a:pt x="42" y="179"/>
                          <a:pt x="42" y="179"/>
                          <a:pt x="42" y="179"/>
                        </a:cubicBezTo>
                        <a:cubicBezTo>
                          <a:pt x="89" y="104"/>
                          <a:pt x="89" y="104"/>
                          <a:pt x="89" y="104"/>
                        </a:cubicBezTo>
                        <a:cubicBezTo>
                          <a:pt x="161" y="130"/>
                          <a:pt x="161" y="130"/>
                          <a:pt x="161" y="130"/>
                        </a:cubicBezTo>
                        <a:cubicBezTo>
                          <a:pt x="164" y="132"/>
                          <a:pt x="168" y="131"/>
                          <a:pt x="171" y="128"/>
                        </a:cubicBezTo>
                        <a:cubicBezTo>
                          <a:pt x="175" y="122"/>
                          <a:pt x="175" y="122"/>
                          <a:pt x="175" y="122"/>
                        </a:cubicBezTo>
                        <a:cubicBezTo>
                          <a:pt x="178" y="119"/>
                          <a:pt x="179" y="116"/>
                          <a:pt x="180" y="112"/>
                        </a:cubicBezTo>
                        <a:cubicBezTo>
                          <a:pt x="182" y="74"/>
                          <a:pt x="182" y="74"/>
                          <a:pt x="182" y="74"/>
                        </a:cubicBezTo>
                        <a:cubicBezTo>
                          <a:pt x="189" y="67"/>
                          <a:pt x="189" y="67"/>
                          <a:pt x="189" y="67"/>
                        </a:cubicBezTo>
                        <a:cubicBezTo>
                          <a:pt x="190" y="67"/>
                          <a:pt x="190" y="67"/>
                          <a:pt x="190" y="66"/>
                        </a:cubicBezTo>
                        <a:cubicBezTo>
                          <a:pt x="191" y="68"/>
                          <a:pt x="192" y="68"/>
                          <a:pt x="194" y="69"/>
                        </a:cubicBezTo>
                        <a:cubicBezTo>
                          <a:pt x="194" y="69"/>
                          <a:pt x="194" y="69"/>
                          <a:pt x="195" y="69"/>
                        </a:cubicBezTo>
                        <a:cubicBezTo>
                          <a:pt x="198" y="69"/>
                          <a:pt x="200" y="67"/>
                          <a:pt x="201" y="64"/>
                        </a:cubicBezTo>
                        <a:cubicBezTo>
                          <a:pt x="202" y="58"/>
                          <a:pt x="202" y="58"/>
                          <a:pt x="202" y="58"/>
                        </a:cubicBezTo>
                        <a:cubicBezTo>
                          <a:pt x="206" y="56"/>
                          <a:pt x="206" y="56"/>
                          <a:pt x="206" y="56"/>
                        </a:cubicBezTo>
                        <a:cubicBezTo>
                          <a:pt x="206" y="59"/>
                          <a:pt x="206" y="59"/>
                          <a:pt x="206" y="59"/>
                        </a:cubicBezTo>
                        <a:cubicBezTo>
                          <a:pt x="205" y="62"/>
                          <a:pt x="207" y="65"/>
                          <a:pt x="211" y="66"/>
                        </a:cubicBezTo>
                        <a:cubicBezTo>
                          <a:pt x="211" y="66"/>
                          <a:pt x="211" y="66"/>
                          <a:pt x="212" y="66"/>
                        </a:cubicBezTo>
                        <a:cubicBezTo>
                          <a:pt x="215" y="66"/>
                          <a:pt x="217" y="64"/>
                          <a:pt x="218" y="61"/>
                        </a:cubicBezTo>
                        <a:cubicBezTo>
                          <a:pt x="219" y="52"/>
                          <a:pt x="219" y="52"/>
                          <a:pt x="219" y="52"/>
                        </a:cubicBezTo>
                        <a:cubicBezTo>
                          <a:pt x="224" y="50"/>
                          <a:pt x="224" y="50"/>
                          <a:pt x="224" y="50"/>
                        </a:cubicBezTo>
                        <a:cubicBezTo>
                          <a:pt x="223" y="56"/>
                          <a:pt x="223" y="56"/>
                          <a:pt x="223" y="56"/>
                        </a:cubicBezTo>
                        <a:cubicBezTo>
                          <a:pt x="222" y="60"/>
                          <a:pt x="224" y="63"/>
                          <a:pt x="228" y="63"/>
                        </a:cubicBezTo>
                        <a:cubicBezTo>
                          <a:pt x="228" y="63"/>
                          <a:pt x="228" y="63"/>
                          <a:pt x="229" y="63"/>
                        </a:cubicBezTo>
                        <a:cubicBezTo>
                          <a:pt x="232" y="63"/>
                          <a:pt x="234" y="61"/>
                          <a:pt x="235" y="58"/>
                        </a:cubicBezTo>
                        <a:cubicBezTo>
                          <a:pt x="237" y="46"/>
                          <a:pt x="237" y="46"/>
                          <a:pt x="237" y="46"/>
                        </a:cubicBezTo>
                        <a:cubicBezTo>
                          <a:pt x="248" y="42"/>
                          <a:pt x="248" y="42"/>
                          <a:pt x="248" y="42"/>
                        </a:cubicBezTo>
                        <a:cubicBezTo>
                          <a:pt x="323" y="49"/>
                          <a:pt x="323" y="49"/>
                          <a:pt x="323" y="49"/>
                        </a:cubicBezTo>
                        <a:cubicBezTo>
                          <a:pt x="326" y="49"/>
                          <a:pt x="329" y="47"/>
                          <a:pt x="329" y="43"/>
                        </a:cubicBezTo>
                        <a:close/>
                        <a:moveTo>
                          <a:pt x="85" y="217"/>
                        </a:moveTo>
                        <a:cubicBezTo>
                          <a:pt x="100" y="153"/>
                          <a:pt x="100" y="153"/>
                          <a:pt x="100" y="153"/>
                        </a:cubicBezTo>
                        <a:cubicBezTo>
                          <a:pt x="116" y="149"/>
                          <a:pt x="116" y="149"/>
                          <a:pt x="116" y="149"/>
                        </a:cubicBezTo>
                        <a:cubicBezTo>
                          <a:pt x="129" y="162"/>
                          <a:pt x="129" y="162"/>
                          <a:pt x="129" y="162"/>
                        </a:cubicBezTo>
                        <a:cubicBezTo>
                          <a:pt x="130" y="170"/>
                          <a:pt x="130" y="170"/>
                          <a:pt x="130" y="170"/>
                        </a:cubicBezTo>
                        <a:cubicBezTo>
                          <a:pt x="96" y="212"/>
                          <a:pt x="96" y="212"/>
                          <a:pt x="96" y="212"/>
                        </a:cubicBezTo>
                        <a:cubicBezTo>
                          <a:pt x="85" y="218"/>
                          <a:pt x="85" y="218"/>
                          <a:pt x="85" y="218"/>
                        </a:cubicBezTo>
                        <a:cubicBezTo>
                          <a:pt x="85" y="217"/>
                          <a:pt x="85" y="217"/>
                          <a:pt x="85" y="217"/>
                        </a:cubicBezTo>
                        <a:cubicBezTo>
                          <a:pt x="85" y="217"/>
                          <a:pt x="85" y="217"/>
                          <a:pt x="85" y="217"/>
                        </a:cubicBez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GB" kern="0">
                      <a:solidFill>
                        <a:srgbClr val="000000"/>
                      </a:solidFill>
                      <a:latin typeface="Honeywell Sans" panose="02010503040101060203" pitchFamily="50" charset="0"/>
                      <a:cs typeface="Arial" pitchFamily="34" charset="0"/>
                    </a:endParaRPr>
                  </a:p>
                </p:txBody>
              </p:sp>
              <p:sp>
                <p:nvSpPr>
                  <p:cNvPr id="353" name="Freeform 168"/>
                  <p:cNvSpPr>
                    <a:spLocks/>
                  </p:cNvSpPr>
                  <p:nvPr/>
                </p:nvSpPr>
                <p:spPr bwMode="auto">
                  <a:xfrm>
                    <a:off x="8199001" y="6775193"/>
                    <a:ext cx="321319" cy="209929"/>
                  </a:xfrm>
                  <a:custGeom>
                    <a:avLst/>
                    <a:gdLst/>
                    <a:ahLst/>
                    <a:cxnLst>
                      <a:cxn ang="0">
                        <a:pos x="138" y="29"/>
                      </a:cxn>
                      <a:cxn ang="0">
                        <a:pos x="138" y="30"/>
                      </a:cxn>
                      <a:cxn ang="0">
                        <a:pos x="149" y="28"/>
                      </a:cxn>
                      <a:cxn ang="0">
                        <a:pos x="149" y="27"/>
                      </a:cxn>
                      <a:cxn ang="0">
                        <a:pos x="148" y="17"/>
                      </a:cxn>
                      <a:cxn ang="0">
                        <a:pos x="128" y="2"/>
                      </a:cxn>
                      <a:cxn ang="0">
                        <a:pos x="117" y="4"/>
                      </a:cxn>
                      <a:cxn ang="0">
                        <a:pos x="117" y="5"/>
                      </a:cxn>
                      <a:cxn ang="0">
                        <a:pos x="118" y="15"/>
                      </a:cxn>
                      <a:cxn ang="0">
                        <a:pos x="120" y="16"/>
                      </a:cxn>
                      <a:cxn ang="0">
                        <a:pos x="118" y="18"/>
                      </a:cxn>
                      <a:cxn ang="0">
                        <a:pos x="10" y="76"/>
                      </a:cxn>
                      <a:cxn ang="0">
                        <a:pos x="0" y="89"/>
                      </a:cxn>
                      <a:cxn ang="0">
                        <a:pos x="12" y="99"/>
                      </a:cxn>
                      <a:cxn ang="0">
                        <a:pos x="13" y="99"/>
                      </a:cxn>
                      <a:cxn ang="0">
                        <a:pos x="138" y="29"/>
                      </a:cxn>
                    </a:cxnLst>
                    <a:rect l="0" t="0" r="r" b="b"/>
                    <a:pathLst>
                      <a:path w="152" h="99">
                        <a:moveTo>
                          <a:pt x="138" y="29"/>
                        </a:moveTo>
                        <a:cubicBezTo>
                          <a:pt x="138" y="30"/>
                          <a:pt x="138" y="30"/>
                          <a:pt x="138" y="30"/>
                        </a:cubicBezTo>
                        <a:cubicBezTo>
                          <a:pt x="142" y="32"/>
                          <a:pt x="146" y="31"/>
                          <a:pt x="149" y="28"/>
                        </a:cubicBezTo>
                        <a:cubicBezTo>
                          <a:pt x="149" y="27"/>
                          <a:pt x="149" y="27"/>
                          <a:pt x="149" y="27"/>
                        </a:cubicBezTo>
                        <a:cubicBezTo>
                          <a:pt x="152" y="24"/>
                          <a:pt x="151" y="19"/>
                          <a:pt x="148" y="17"/>
                        </a:cubicBezTo>
                        <a:cubicBezTo>
                          <a:pt x="128" y="2"/>
                          <a:pt x="128" y="2"/>
                          <a:pt x="128" y="2"/>
                        </a:cubicBezTo>
                        <a:cubicBezTo>
                          <a:pt x="124" y="0"/>
                          <a:pt x="120" y="1"/>
                          <a:pt x="117" y="4"/>
                        </a:cubicBezTo>
                        <a:cubicBezTo>
                          <a:pt x="117" y="5"/>
                          <a:pt x="117" y="5"/>
                          <a:pt x="117" y="5"/>
                        </a:cubicBezTo>
                        <a:cubicBezTo>
                          <a:pt x="114" y="8"/>
                          <a:pt x="115" y="13"/>
                          <a:pt x="118" y="15"/>
                        </a:cubicBezTo>
                        <a:cubicBezTo>
                          <a:pt x="120" y="16"/>
                          <a:pt x="120" y="16"/>
                          <a:pt x="120" y="16"/>
                        </a:cubicBezTo>
                        <a:cubicBezTo>
                          <a:pt x="119" y="17"/>
                          <a:pt x="119" y="17"/>
                          <a:pt x="118" y="18"/>
                        </a:cubicBezTo>
                        <a:cubicBezTo>
                          <a:pt x="117" y="20"/>
                          <a:pt x="93" y="66"/>
                          <a:pt x="10" y="76"/>
                        </a:cubicBezTo>
                        <a:cubicBezTo>
                          <a:pt x="4" y="77"/>
                          <a:pt x="0" y="83"/>
                          <a:pt x="0" y="89"/>
                        </a:cubicBezTo>
                        <a:cubicBezTo>
                          <a:pt x="1" y="95"/>
                          <a:pt x="6" y="99"/>
                          <a:pt x="12" y="99"/>
                        </a:cubicBezTo>
                        <a:cubicBezTo>
                          <a:pt x="12" y="99"/>
                          <a:pt x="13" y="99"/>
                          <a:pt x="13" y="99"/>
                        </a:cubicBezTo>
                        <a:cubicBezTo>
                          <a:pt x="102" y="87"/>
                          <a:pt x="133" y="38"/>
                          <a:pt x="138" y="29"/>
                        </a:cubicBez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GB" kern="0">
                      <a:solidFill>
                        <a:srgbClr val="000000"/>
                      </a:solidFill>
                      <a:latin typeface="Honeywell Sans" panose="02010503040101060203" pitchFamily="50" charset="0"/>
                      <a:cs typeface="Arial" pitchFamily="34" charset="0"/>
                    </a:endParaRPr>
                  </a:p>
                </p:txBody>
              </p:sp>
              <p:grpSp>
                <p:nvGrpSpPr>
                  <p:cNvPr id="354" name="Group 371"/>
                  <p:cNvGrpSpPr/>
                  <p:nvPr/>
                </p:nvGrpSpPr>
                <p:grpSpPr>
                  <a:xfrm>
                    <a:off x="7805202" y="6447330"/>
                    <a:ext cx="582531" cy="727709"/>
                    <a:chOff x="3227165" y="5336402"/>
                    <a:chExt cx="509588" cy="636588"/>
                  </a:xfrm>
                  <a:grpFill/>
                </p:grpSpPr>
                <p:sp>
                  <p:nvSpPr>
                    <p:cNvPr id="355" name="Freeform 49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3227165" y="5336402"/>
                      <a:ext cx="509588" cy="636588"/>
                    </a:xfrm>
                    <a:custGeom>
                      <a:avLst/>
                      <a:gdLst/>
                      <a:ahLst/>
                      <a:cxnLst>
                        <a:cxn ang="0">
                          <a:pos x="504" y="632"/>
                        </a:cxn>
                        <a:cxn ang="0">
                          <a:pos x="504" y="52"/>
                        </a:cxn>
                        <a:cxn ang="0">
                          <a:pos x="452" y="0"/>
                        </a:cxn>
                        <a:cxn ang="0">
                          <a:pos x="120" y="0"/>
                        </a:cxn>
                        <a:cxn ang="0">
                          <a:pos x="67" y="52"/>
                        </a:cxn>
                        <a:cxn ang="0">
                          <a:pos x="67" y="632"/>
                        </a:cxn>
                        <a:cxn ang="0">
                          <a:pos x="47" y="632"/>
                        </a:cxn>
                        <a:cxn ang="0">
                          <a:pos x="47" y="661"/>
                        </a:cxn>
                        <a:cxn ang="0">
                          <a:pos x="0" y="684"/>
                        </a:cxn>
                        <a:cxn ang="0">
                          <a:pos x="0" y="713"/>
                        </a:cxn>
                        <a:cxn ang="0">
                          <a:pos x="571" y="713"/>
                        </a:cxn>
                        <a:cxn ang="0">
                          <a:pos x="571" y="684"/>
                        </a:cxn>
                        <a:cxn ang="0">
                          <a:pos x="525" y="661"/>
                        </a:cxn>
                        <a:cxn ang="0">
                          <a:pos x="525" y="632"/>
                        </a:cxn>
                        <a:cxn ang="0">
                          <a:pos x="504" y="632"/>
                        </a:cxn>
                        <a:cxn ang="0">
                          <a:pos x="146" y="103"/>
                        </a:cxn>
                        <a:cxn ang="0">
                          <a:pos x="154" y="95"/>
                        </a:cxn>
                        <a:cxn ang="0">
                          <a:pos x="418" y="95"/>
                        </a:cxn>
                        <a:cxn ang="0">
                          <a:pos x="425" y="103"/>
                        </a:cxn>
                        <a:cxn ang="0">
                          <a:pos x="425" y="297"/>
                        </a:cxn>
                        <a:cxn ang="0">
                          <a:pos x="418" y="304"/>
                        </a:cxn>
                        <a:cxn ang="0">
                          <a:pos x="154" y="304"/>
                        </a:cxn>
                        <a:cxn ang="0">
                          <a:pos x="146" y="297"/>
                        </a:cxn>
                        <a:cxn ang="0">
                          <a:pos x="146" y="103"/>
                        </a:cxn>
                      </a:cxnLst>
                      <a:rect l="0" t="0" r="r" b="b"/>
                      <a:pathLst>
                        <a:path w="571" h="713">
                          <a:moveTo>
                            <a:pt x="504" y="632"/>
                          </a:moveTo>
                          <a:cubicBezTo>
                            <a:pt x="504" y="52"/>
                            <a:pt x="504" y="52"/>
                            <a:pt x="504" y="52"/>
                          </a:cubicBezTo>
                          <a:cubicBezTo>
                            <a:pt x="504" y="23"/>
                            <a:pt x="481" y="0"/>
                            <a:pt x="452" y="0"/>
                          </a:cubicBezTo>
                          <a:cubicBezTo>
                            <a:pt x="120" y="0"/>
                            <a:pt x="120" y="0"/>
                            <a:pt x="120" y="0"/>
                          </a:cubicBezTo>
                          <a:cubicBezTo>
                            <a:pt x="91" y="0"/>
                            <a:pt x="67" y="23"/>
                            <a:pt x="67" y="52"/>
                          </a:cubicBezTo>
                          <a:cubicBezTo>
                            <a:pt x="67" y="632"/>
                            <a:pt x="67" y="632"/>
                            <a:pt x="67" y="632"/>
                          </a:cubicBezTo>
                          <a:cubicBezTo>
                            <a:pt x="47" y="632"/>
                            <a:pt x="47" y="632"/>
                            <a:pt x="47" y="632"/>
                          </a:cubicBezTo>
                          <a:cubicBezTo>
                            <a:pt x="47" y="661"/>
                            <a:pt x="47" y="661"/>
                            <a:pt x="47" y="661"/>
                          </a:cubicBezTo>
                          <a:cubicBezTo>
                            <a:pt x="0" y="684"/>
                            <a:pt x="0" y="684"/>
                            <a:pt x="0" y="684"/>
                          </a:cubicBezTo>
                          <a:cubicBezTo>
                            <a:pt x="0" y="713"/>
                            <a:pt x="0" y="713"/>
                            <a:pt x="0" y="713"/>
                          </a:cubicBezTo>
                          <a:cubicBezTo>
                            <a:pt x="571" y="713"/>
                            <a:pt x="571" y="713"/>
                            <a:pt x="571" y="713"/>
                          </a:cubicBezTo>
                          <a:cubicBezTo>
                            <a:pt x="571" y="684"/>
                            <a:pt x="571" y="684"/>
                            <a:pt x="571" y="684"/>
                          </a:cubicBezTo>
                          <a:cubicBezTo>
                            <a:pt x="525" y="661"/>
                            <a:pt x="525" y="661"/>
                            <a:pt x="525" y="661"/>
                          </a:cubicBezTo>
                          <a:cubicBezTo>
                            <a:pt x="525" y="632"/>
                            <a:pt x="525" y="632"/>
                            <a:pt x="525" y="632"/>
                          </a:cubicBezTo>
                          <a:lnTo>
                            <a:pt x="504" y="632"/>
                          </a:lnTo>
                          <a:close/>
                          <a:moveTo>
                            <a:pt x="146" y="103"/>
                          </a:moveTo>
                          <a:cubicBezTo>
                            <a:pt x="146" y="99"/>
                            <a:pt x="150" y="95"/>
                            <a:pt x="154" y="95"/>
                          </a:cubicBezTo>
                          <a:cubicBezTo>
                            <a:pt x="418" y="95"/>
                            <a:pt x="418" y="95"/>
                            <a:pt x="418" y="95"/>
                          </a:cubicBezTo>
                          <a:cubicBezTo>
                            <a:pt x="422" y="95"/>
                            <a:pt x="425" y="99"/>
                            <a:pt x="425" y="103"/>
                          </a:cubicBezTo>
                          <a:cubicBezTo>
                            <a:pt x="425" y="297"/>
                            <a:pt x="425" y="297"/>
                            <a:pt x="425" y="297"/>
                          </a:cubicBezTo>
                          <a:cubicBezTo>
                            <a:pt x="425" y="301"/>
                            <a:pt x="422" y="304"/>
                            <a:pt x="418" y="304"/>
                          </a:cubicBezTo>
                          <a:cubicBezTo>
                            <a:pt x="154" y="304"/>
                            <a:pt x="154" y="304"/>
                            <a:pt x="154" y="304"/>
                          </a:cubicBezTo>
                          <a:cubicBezTo>
                            <a:pt x="150" y="304"/>
                            <a:pt x="146" y="301"/>
                            <a:pt x="146" y="297"/>
                          </a:cubicBezTo>
                          <a:lnTo>
                            <a:pt x="146" y="103"/>
                          </a:lnTo>
                          <a:close/>
                        </a:path>
                      </a:pathLst>
                    </a:custGeom>
                    <a:grpFill/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>
                        <a:defRPr/>
                      </a:pPr>
                      <a:endParaRPr lang="en-GB" kern="0">
                        <a:solidFill>
                          <a:srgbClr val="000000"/>
                        </a:solidFill>
                        <a:latin typeface="Honeywell Sans" panose="02010503040101060203" pitchFamily="50" charset="0"/>
                        <a:cs typeface="Arial" pitchFamily="34" charset="0"/>
                      </a:endParaRPr>
                    </a:p>
                  </p:txBody>
                </p:sp>
                <p:sp>
                  <p:nvSpPr>
                    <p:cNvPr id="356" name="Freeform 50"/>
                    <p:cNvSpPr>
                      <a:spLocks/>
                    </p:cNvSpPr>
                    <p:nvPr/>
                  </p:nvSpPr>
                  <p:spPr bwMode="auto">
                    <a:xfrm>
                      <a:off x="3395440" y="5493564"/>
                      <a:ext cx="171450" cy="52388"/>
                    </a:xfrm>
                    <a:custGeom>
                      <a:avLst/>
                      <a:gdLst/>
                      <a:ahLst/>
                      <a:cxnLst>
                        <a:cxn ang="0">
                          <a:pos x="17" y="24"/>
                        </a:cxn>
                        <a:cxn ang="0">
                          <a:pos x="29" y="24"/>
                        </a:cxn>
                        <a:cxn ang="0">
                          <a:pos x="29" y="33"/>
                        </a:cxn>
                        <a:cxn ang="0">
                          <a:pos x="49" y="33"/>
                        </a:cxn>
                        <a:cxn ang="0">
                          <a:pos x="49" y="24"/>
                        </a:cxn>
                        <a:cxn ang="0">
                          <a:pos x="61" y="24"/>
                        </a:cxn>
                        <a:cxn ang="0">
                          <a:pos x="61" y="33"/>
                        </a:cxn>
                        <a:cxn ang="0">
                          <a:pos x="80" y="33"/>
                        </a:cxn>
                        <a:cxn ang="0">
                          <a:pos x="80" y="24"/>
                        </a:cxn>
                        <a:cxn ang="0">
                          <a:pos x="92" y="24"/>
                        </a:cxn>
                        <a:cxn ang="0">
                          <a:pos x="92" y="33"/>
                        </a:cxn>
                        <a:cxn ang="0">
                          <a:pos x="108" y="33"/>
                        </a:cxn>
                        <a:cxn ang="0">
                          <a:pos x="108" y="0"/>
                        </a:cxn>
                        <a:cxn ang="0">
                          <a:pos x="0" y="0"/>
                        </a:cxn>
                        <a:cxn ang="0">
                          <a:pos x="0" y="33"/>
                        </a:cxn>
                        <a:cxn ang="0">
                          <a:pos x="17" y="33"/>
                        </a:cxn>
                        <a:cxn ang="0">
                          <a:pos x="17" y="24"/>
                        </a:cxn>
                      </a:cxnLst>
                      <a:rect l="0" t="0" r="r" b="b"/>
                      <a:pathLst>
                        <a:path w="108" h="33">
                          <a:moveTo>
                            <a:pt x="17" y="24"/>
                          </a:moveTo>
                          <a:lnTo>
                            <a:pt x="29" y="24"/>
                          </a:lnTo>
                          <a:lnTo>
                            <a:pt x="29" y="33"/>
                          </a:lnTo>
                          <a:lnTo>
                            <a:pt x="49" y="33"/>
                          </a:lnTo>
                          <a:lnTo>
                            <a:pt x="49" y="24"/>
                          </a:lnTo>
                          <a:lnTo>
                            <a:pt x="61" y="24"/>
                          </a:lnTo>
                          <a:lnTo>
                            <a:pt x="61" y="33"/>
                          </a:lnTo>
                          <a:lnTo>
                            <a:pt x="80" y="33"/>
                          </a:lnTo>
                          <a:lnTo>
                            <a:pt x="80" y="24"/>
                          </a:lnTo>
                          <a:lnTo>
                            <a:pt x="92" y="24"/>
                          </a:lnTo>
                          <a:lnTo>
                            <a:pt x="92" y="33"/>
                          </a:lnTo>
                          <a:lnTo>
                            <a:pt x="108" y="33"/>
                          </a:lnTo>
                          <a:lnTo>
                            <a:pt x="108" y="0"/>
                          </a:lnTo>
                          <a:lnTo>
                            <a:pt x="0" y="0"/>
                          </a:lnTo>
                          <a:lnTo>
                            <a:pt x="0" y="33"/>
                          </a:lnTo>
                          <a:lnTo>
                            <a:pt x="17" y="33"/>
                          </a:lnTo>
                          <a:lnTo>
                            <a:pt x="17" y="24"/>
                          </a:lnTo>
                          <a:close/>
                        </a:path>
                      </a:pathLst>
                    </a:custGeom>
                    <a:grpFill/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>
                        <a:defRPr/>
                      </a:pPr>
                      <a:endParaRPr lang="en-GB" kern="0">
                        <a:solidFill>
                          <a:srgbClr val="000000"/>
                        </a:solidFill>
                        <a:latin typeface="Honeywell Sans" panose="02010503040101060203" pitchFamily="50" charset="0"/>
                        <a:cs typeface="Arial" pitchFamily="34" charset="0"/>
                      </a:endParaRPr>
                    </a:p>
                  </p:txBody>
                </p:sp>
              </p:grpSp>
            </p:grpSp>
            <p:grpSp>
              <p:nvGrpSpPr>
                <p:cNvPr id="349" name="Group 163"/>
                <p:cNvGrpSpPr/>
                <p:nvPr/>
              </p:nvGrpSpPr>
              <p:grpSpPr>
                <a:xfrm flipH="1">
                  <a:off x="1742309" y="9014676"/>
                  <a:ext cx="99142" cy="111998"/>
                  <a:chOff x="7772400" y="8678717"/>
                  <a:chExt cx="526084" cy="594306"/>
                </a:xfrm>
                <a:grpFill/>
              </p:grpSpPr>
              <p:sp>
                <p:nvSpPr>
                  <p:cNvPr id="350" name="Freeform 64"/>
                  <p:cNvSpPr>
                    <a:spLocks noEditPoints="1"/>
                  </p:cNvSpPr>
                  <p:nvPr/>
                </p:nvSpPr>
                <p:spPr bwMode="auto">
                  <a:xfrm>
                    <a:off x="7772400" y="8678717"/>
                    <a:ext cx="526084" cy="594306"/>
                  </a:xfrm>
                  <a:custGeom>
                    <a:avLst/>
                    <a:gdLst/>
                    <a:ahLst/>
                    <a:cxnLst>
                      <a:cxn ang="0">
                        <a:pos x="308" y="697"/>
                      </a:cxn>
                      <a:cxn ang="0">
                        <a:pos x="502" y="360"/>
                      </a:cxn>
                      <a:cxn ang="0">
                        <a:pos x="318" y="8"/>
                      </a:cxn>
                      <a:cxn ang="0">
                        <a:pos x="301" y="9"/>
                      </a:cxn>
                      <a:cxn ang="0">
                        <a:pos x="115" y="359"/>
                      </a:cxn>
                      <a:cxn ang="0">
                        <a:pos x="308" y="697"/>
                      </a:cxn>
                      <a:cxn ang="0">
                        <a:pos x="207" y="548"/>
                      </a:cxn>
                      <a:cxn ang="0">
                        <a:pos x="218" y="503"/>
                      </a:cxn>
                      <a:cxn ang="0">
                        <a:pos x="227" y="497"/>
                      </a:cxn>
                      <a:cxn ang="0">
                        <a:pos x="231" y="498"/>
                      </a:cxn>
                      <a:cxn ang="0">
                        <a:pos x="299" y="515"/>
                      </a:cxn>
                      <a:cxn ang="0">
                        <a:pos x="335" y="493"/>
                      </a:cxn>
                      <a:cxn ang="0">
                        <a:pos x="293" y="460"/>
                      </a:cxn>
                      <a:cxn ang="0">
                        <a:pos x="209" y="373"/>
                      </a:cxn>
                      <a:cxn ang="0">
                        <a:pos x="284" y="290"/>
                      </a:cxn>
                      <a:cxn ang="0">
                        <a:pos x="284" y="256"/>
                      </a:cxn>
                      <a:cxn ang="0">
                        <a:pos x="293" y="246"/>
                      </a:cxn>
                      <a:cxn ang="0">
                        <a:pos x="329" y="246"/>
                      </a:cxn>
                      <a:cxn ang="0">
                        <a:pos x="339" y="256"/>
                      </a:cxn>
                      <a:cxn ang="0">
                        <a:pos x="339" y="286"/>
                      </a:cxn>
                      <a:cxn ang="0">
                        <a:pos x="396" y="299"/>
                      </a:cxn>
                      <a:cxn ang="0">
                        <a:pos x="402" y="311"/>
                      </a:cxn>
                      <a:cxn ang="0">
                        <a:pos x="391" y="354"/>
                      </a:cxn>
                      <a:cxn ang="0">
                        <a:pos x="382" y="361"/>
                      </a:cxn>
                      <a:cxn ang="0">
                        <a:pos x="379" y="360"/>
                      </a:cxn>
                      <a:cxn ang="0">
                        <a:pos x="321" y="347"/>
                      </a:cxn>
                      <a:cxn ang="0">
                        <a:pos x="289" y="366"/>
                      </a:cxn>
                      <a:cxn ang="0">
                        <a:pos x="338" y="398"/>
                      </a:cxn>
                      <a:cxn ang="0">
                        <a:pos x="416" y="487"/>
                      </a:cxn>
                      <a:cxn ang="0">
                        <a:pos x="337" y="574"/>
                      </a:cxn>
                      <a:cxn ang="0">
                        <a:pos x="337" y="611"/>
                      </a:cxn>
                      <a:cxn ang="0">
                        <a:pos x="327" y="621"/>
                      </a:cxn>
                      <a:cxn ang="0">
                        <a:pos x="291" y="621"/>
                      </a:cxn>
                      <a:cxn ang="0">
                        <a:pos x="281" y="611"/>
                      </a:cxn>
                      <a:cxn ang="0">
                        <a:pos x="281" y="578"/>
                      </a:cxn>
                      <a:cxn ang="0">
                        <a:pos x="212" y="560"/>
                      </a:cxn>
                      <a:cxn ang="0">
                        <a:pos x="207" y="548"/>
                      </a:cxn>
                    </a:cxnLst>
                    <a:rect l="0" t="0" r="r" b="b"/>
                    <a:pathLst>
                      <a:path w="617" h="697">
                        <a:moveTo>
                          <a:pt x="308" y="697"/>
                        </a:moveTo>
                        <a:cubicBezTo>
                          <a:pt x="462" y="697"/>
                          <a:pt x="617" y="573"/>
                          <a:pt x="502" y="360"/>
                        </a:cubicBezTo>
                        <a:cubicBezTo>
                          <a:pt x="410" y="186"/>
                          <a:pt x="340" y="100"/>
                          <a:pt x="318" y="8"/>
                        </a:cubicBezTo>
                        <a:cubicBezTo>
                          <a:pt x="316" y="0"/>
                          <a:pt x="303" y="1"/>
                          <a:pt x="301" y="9"/>
                        </a:cubicBezTo>
                        <a:cubicBezTo>
                          <a:pt x="278" y="101"/>
                          <a:pt x="208" y="187"/>
                          <a:pt x="115" y="359"/>
                        </a:cubicBezTo>
                        <a:cubicBezTo>
                          <a:pt x="0" y="572"/>
                          <a:pt x="154" y="696"/>
                          <a:pt x="308" y="697"/>
                        </a:cubicBezTo>
                        <a:close/>
                        <a:moveTo>
                          <a:pt x="207" y="548"/>
                        </a:moveTo>
                        <a:cubicBezTo>
                          <a:pt x="218" y="503"/>
                          <a:pt x="218" y="503"/>
                          <a:pt x="218" y="503"/>
                        </a:cubicBezTo>
                        <a:cubicBezTo>
                          <a:pt x="219" y="499"/>
                          <a:pt x="223" y="497"/>
                          <a:pt x="227" y="497"/>
                        </a:cubicBezTo>
                        <a:cubicBezTo>
                          <a:pt x="228" y="497"/>
                          <a:pt x="230" y="497"/>
                          <a:pt x="231" y="498"/>
                        </a:cubicBezTo>
                        <a:cubicBezTo>
                          <a:pt x="244" y="504"/>
                          <a:pt x="269" y="515"/>
                          <a:pt x="299" y="515"/>
                        </a:cubicBezTo>
                        <a:cubicBezTo>
                          <a:pt x="307" y="515"/>
                          <a:pt x="335" y="513"/>
                          <a:pt x="335" y="493"/>
                        </a:cubicBezTo>
                        <a:cubicBezTo>
                          <a:pt x="335" y="482"/>
                          <a:pt x="328" y="472"/>
                          <a:pt x="293" y="460"/>
                        </a:cubicBezTo>
                        <a:cubicBezTo>
                          <a:pt x="253" y="447"/>
                          <a:pt x="209" y="425"/>
                          <a:pt x="209" y="373"/>
                        </a:cubicBezTo>
                        <a:cubicBezTo>
                          <a:pt x="209" y="332"/>
                          <a:pt x="237" y="300"/>
                          <a:pt x="284" y="290"/>
                        </a:cubicBezTo>
                        <a:cubicBezTo>
                          <a:pt x="284" y="256"/>
                          <a:pt x="284" y="256"/>
                          <a:pt x="284" y="256"/>
                        </a:cubicBezTo>
                        <a:cubicBezTo>
                          <a:pt x="284" y="251"/>
                          <a:pt x="288" y="246"/>
                          <a:pt x="293" y="246"/>
                        </a:cubicBezTo>
                        <a:cubicBezTo>
                          <a:pt x="329" y="246"/>
                          <a:pt x="329" y="246"/>
                          <a:pt x="329" y="246"/>
                        </a:cubicBezTo>
                        <a:cubicBezTo>
                          <a:pt x="335" y="246"/>
                          <a:pt x="339" y="251"/>
                          <a:pt x="339" y="256"/>
                        </a:cubicBezTo>
                        <a:cubicBezTo>
                          <a:pt x="339" y="286"/>
                          <a:pt x="339" y="286"/>
                          <a:pt x="339" y="286"/>
                        </a:cubicBezTo>
                        <a:cubicBezTo>
                          <a:pt x="361" y="287"/>
                          <a:pt x="380" y="291"/>
                          <a:pt x="396" y="299"/>
                        </a:cubicBezTo>
                        <a:cubicBezTo>
                          <a:pt x="401" y="301"/>
                          <a:pt x="404" y="306"/>
                          <a:pt x="402" y="311"/>
                        </a:cubicBezTo>
                        <a:cubicBezTo>
                          <a:pt x="391" y="354"/>
                          <a:pt x="391" y="354"/>
                          <a:pt x="391" y="354"/>
                        </a:cubicBezTo>
                        <a:cubicBezTo>
                          <a:pt x="390" y="358"/>
                          <a:pt x="387" y="361"/>
                          <a:pt x="382" y="361"/>
                        </a:cubicBezTo>
                        <a:cubicBezTo>
                          <a:pt x="381" y="361"/>
                          <a:pt x="380" y="361"/>
                          <a:pt x="379" y="360"/>
                        </a:cubicBezTo>
                        <a:cubicBezTo>
                          <a:pt x="367" y="355"/>
                          <a:pt x="349" y="347"/>
                          <a:pt x="321" y="347"/>
                        </a:cubicBezTo>
                        <a:cubicBezTo>
                          <a:pt x="300" y="347"/>
                          <a:pt x="289" y="354"/>
                          <a:pt x="289" y="366"/>
                        </a:cubicBezTo>
                        <a:cubicBezTo>
                          <a:pt x="289" y="376"/>
                          <a:pt x="301" y="385"/>
                          <a:pt x="338" y="398"/>
                        </a:cubicBezTo>
                        <a:cubicBezTo>
                          <a:pt x="393" y="418"/>
                          <a:pt x="416" y="444"/>
                          <a:pt x="416" y="487"/>
                        </a:cubicBezTo>
                        <a:cubicBezTo>
                          <a:pt x="416" y="530"/>
                          <a:pt x="385" y="564"/>
                          <a:pt x="337" y="574"/>
                        </a:cubicBezTo>
                        <a:cubicBezTo>
                          <a:pt x="337" y="611"/>
                          <a:pt x="337" y="611"/>
                          <a:pt x="337" y="611"/>
                        </a:cubicBezTo>
                        <a:cubicBezTo>
                          <a:pt x="337" y="616"/>
                          <a:pt x="333" y="621"/>
                          <a:pt x="327" y="621"/>
                        </a:cubicBezTo>
                        <a:cubicBezTo>
                          <a:pt x="291" y="621"/>
                          <a:pt x="291" y="621"/>
                          <a:pt x="291" y="621"/>
                        </a:cubicBezTo>
                        <a:cubicBezTo>
                          <a:pt x="286" y="621"/>
                          <a:pt x="281" y="616"/>
                          <a:pt x="281" y="611"/>
                        </a:cubicBezTo>
                        <a:cubicBezTo>
                          <a:pt x="281" y="578"/>
                          <a:pt x="281" y="578"/>
                          <a:pt x="281" y="578"/>
                        </a:cubicBezTo>
                        <a:cubicBezTo>
                          <a:pt x="256" y="576"/>
                          <a:pt x="230" y="570"/>
                          <a:pt x="212" y="560"/>
                        </a:cubicBezTo>
                        <a:cubicBezTo>
                          <a:pt x="208" y="558"/>
                          <a:pt x="206" y="553"/>
                          <a:pt x="207" y="548"/>
                        </a:cubicBezTo>
                        <a:close/>
                      </a:path>
                    </a:pathLst>
                  </a:custGeom>
                  <a:grpFill/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GB" kern="0">
                      <a:solidFill>
                        <a:srgbClr val="000000"/>
                      </a:solidFill>
                      <a:latin typeface="Honeywell Sans" panose="02010503040101060203" pitchFamily="50" charset="0"/>
                      <a:cs typeface="Arial" pitchFamily="34" charset="0"/>
                    </a:endParaRPr>
                  </a:p>
                </p:txBody>
              </p:sp>
              <p:sp>
                <p:nvSpPr>
                  <p:cNvPr id="351" name="Oval 350"/>
                  <p:cNvSpPr/>
                  <p:nvPr/>
                </p:nvSpPr>
                <p:spPr bwMode="auto">
                  <a:xfrm>
                    <a:off x="7884318" y="8877299"/>
                    <a:ext cx="304800" cy="352425"/>
                  </a:xfrm>
                  <a:prstGeom prst="ellipse">
                    <a:avLst/>
                  </a:prstGeom>
                  <a:grpFill/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xmlns="" w="12699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14:hiddenLine>
                    </a:ext>
                    <a:ext uri="{AF507438-7753-43e0-B8FC-AC1667EBCBE1}">
                      <a14:hiddenEffects xmlns:a14="http://schemas.microsoft.com/office/drawing/2010/main" xmlns="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vert="horz" wrap="none" lIns="90488" tIns="44450" rIns="90488" bIns="4445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lnSpc>
                        <a:spcPct val="110000"/>
                      </a:lnSpc>
                      <a:defRPr/>
                    </a:pPr>
                    <a:endParaRPr lang="en-US" b="1" kern="0" dirty="0">
                      <a:solidFill>
                        <a:srgbClr val="000000"/>
                      </a:solidFill>
                      <a:latin typeface="Honeywell Sans" panose="02010503040101060203" pitchFamily="50" charset="0"/>
                      <a:cs typeface="Arial" pitchFamily="34" charset="0"/>
                    </a:endParaRPr>
                  </a:p>
                </p:txBody>
              </p:sp>
            </p:grpSp>
          </p:grpSp>
          <p:grpSp>
            <p:nvGrpSpPr>
              <p:cNvPr id="341" name="Group 428"/>
              <p:cNvGrpSpPr>
                <a:grpSpLocks/>
              </p:cNvGrpSpPr>
              <p:nvPr/>
            </p:nvGrpSpPr>
            <p:grpSpPr>
              <a:xfrm>
                <a:off x="7945291" y="5993757"/>
                <a:ext cx="357067" cy="125851"/>
                <a:chOff x="1758579" y="1900237"/>
                <a:chExt cx="8674845" cy="3057526"/>
              </a:xfrm>
              <a:solidFill>
                <a:schemeClr val="bg1">
                  <a:lumMod val="65000"/>
                </a:schemeClr>
              </a:solidFill>
            </p:grpSpPr>
            <p:sp>
              <p:nvSpPr>
                <p:cNvPr id="343" name="Freeform 342"/>
                <p:cNvSpPr>
                  <a:spLocks/>
                </p:cNvSpPr>
                <p:nvPr/>
              </p:nvSpPr>
              <p:spPr bwMode="auto">
                <a:xfrm flipH="1">
                  <a:off x="1758579" y="1900237"/>
                  <a:ext cx="8674845" cy="2602445"/>
                </a:xfrm>
                <a:custGeom>
                  <a:avLst/>
                  <a:gdLst>
                    <a:gd name="connsiteX0" fmla="*/ 478765 w 8674845"/>
                    <a:gd name="connsiteY0" fmla="*/ 1422104 h 2602445"/>
                    <a:gd name="connsiteX1" fmla="*/ 639936 w 8674845"/>
                    <a:gd name="connsiteY1" fmla="*/ 1580119 h 2602445"/>
                    <a:gd name="connsiteX2" fmla="*/ 156424 w 8674845"/>
                    <a:gd name="connsiteY2" fmla="*/ 1777638 h 2602445"/>
                    <a:gd name="connsiteX3" fmla="*/ 478765 w 8674845"/>
                    <a:gd name="connsiteY3" fmla="*/ 1422104 h 2602445"/>
                    <a:gd name="connsiteX4" fmla="*/ 8482315 w 8674845"/>
                    <a:gd name="connsiteY4" fmla="*/ 1194564 h 2602445"/>
                    <a:gd name="connsiteX5" fmla="*/ 8561075 w 8674845"/>
                    <a:gd name="connsiteY5" fmla="*/ 1416860 h 2602445"/>
                    <a:gd name="connsiteX6" fmla="*/ 8561075 w 8674845"/>
                    <a:gd name="connsiteY6" fmla="*/ 1578529 h 2602445"/>
                    <a:gd name="connsiteX7" fmla="*/ 8305104 w 8674845"/>
                    <a:gd name="connsiteY7" fmla="*/ 1376442 h 2602445"/>
                    <a:gd name="connsiteX8" fmla="*/ 8482315 w 8674845"/>
                    <a:gd name="connsiteY8" fmla="*/ 1194564 h 2602445"/>
                    <a:gd name="connsiteX9" fmla="*/ 6183132 w 8674845"/>
                    <a:gd name="connsiteY9" fmla="*/ 511958 h 2602445"/>
                    <a:gd name="connsiteX10" fmla="*/ 6797660 w 8674845"/>
                    <a:gd name="connsiteY10" fmla="*/ 870327 h 2602445"/>
                    <a:gd name="connsiteX11" fmla="*/ 6143485 w 8674845"/>
                    <a:gd name="connsiteY11" fmla="*/ 910146 h 2602445"/>
                    <a:gd name="connsiteX12" fmla="*/ 4636056 w 8674845"/>
                    <a:gd name="connsiteY12" fmla="*/ 199094 h 2602445"/>
                    <a:gd name="connsiteX13" fmla="*/ 4555714 w 8674845"/>
                    <a:gd name="connsiteY13" fmla="*/ 978208 h 2602445"/>
                    <a:gd name="connsiteX14" fmla="*/ 2687770 w 8674845"/>
                    <a:gd name="connsiteY14" fmla="*/ 1038140 h 2602445"/>
                    <a:gd name="connsiteX15" fmla="*/ 4636056 w 8674845"/>
                    <a:gd name="connsiteY15" fmla="*/ 199094 h 2602445"/>
                    <a:gd name="connsiteX16" fmla="*/ 4852491 w 8674845"/>
                    <a:gd name="connsiteY16" fmla="*/ 199094 h 2602445"/>
                    <a:gd name="connsiteX17" fmla="*/ 6072384 w 8674845"/>
                    <a:gd name="connsiteY17" fmla="*/ 456946 h 2602445"/>
                    <a:gd name="connsiteX18" fmla="*/ 6032388 w 8674845"/>
                    <a:gd name="connsiteY18" fmla="*/ 913147 h 2602445"/>
                    <a:gd name="connsiteX19" fmla="*/ 4792496 w 8674845"/>
                    <a:gd name="connsiteY19" fmla="*/ 952816 h 2602445"/>
                    <a:gd name="connsiteX20" fmla="*/ 4852491 w 8674845"/>
                    <a:gd name="connsiteY20" fmla="*/ 199094 h 2602445"/>
                    <a:gd name="connsiteX21" fmla="*/ 4959924 w 8674845"/>
                    <a:gd name="connsiteY21" fmla="*/ 0 h 2602445"/>
                    <a:gd name="connsiteX22" fmla="*/ 2449841 w 8674845"/>
                    <a:gd name="connsiteY22" fmla="*/ 960903 h 2602445"/>
                    <a:gd name="connsiteX23" fmla="*/ 542178 w 8674845"/>
                    <a:gd name="connsiteY23" fmla="*/ 1261185 h 2602445"/>
                    <a:gd name="connsiteX24" fmla="*/ 0 w 8674845"/>
                    <a:gd name="connsiteY24" fmla="*/ 2061937 h 2602445"/>
                    <a:gd name="connsiteX25" fmla="*/ 80323 w 8674845"/>
                    <a:gd name="connsiteY25" fmla="*/ 2602445 h 2602445"/>
                    <a:gd name="connsiteX26" fmla="*/ 863468 w 8674845"/>
                    <a:gd name="connsiteY26" fmla="*/ 2602445 h 2602445"/>
                    <a:gd name="connsiteX27" fmla="*/ 823307 w 8674845"/>
                    <a:gd name="connsiteY27" fmla="*/ 2342201 h 2602445"/>
                    <a:gd name="connsiteX28" fmla="*/ 1646614 w 8674845"/>
                    <a:gd name="connsiteY28" fmla="*/ 1541448 h 2602445"/>
                    <a:gd name="connsiteX29" fmla="*/ 2469922 w 8674845"/>
                    <a:gd name="connsiteY29" fmla="*/ 2342201 h 2602445"/>
                    <a:gd name="connsiteX30" fmla="*/ 2429760 w 8674845"/>
                    <a:gd name="connsiteY30" fmla="*/ 2602445 h 2602445"/>
                    <a:gd name="connsiteX31" fmla="*/ 6064360 w 8674845"/>
                    <a:gd name="connsiteY31" fmla="*/ 2602445 h 2602445"/>
                    <a:gd name="connsiteX32" fmla="*/ 6024199 w 8674845"/>
                    <a:gd name="connsiteY32" fmla="*/ 2342201 h 2602445"/>
                    <a:gd name="connsiteX33" fmla="*/ 6847505 w 8674845"/>
                    <a:gd name="connsiteY33" fmla="*/ 1541448 h 2602445"/>
                    <a:gd name="connsiteX34" fmla="*/ 7670813 w 8674845"/>
                    <a:gd name="connsiteY34" fmla="*/ 2342201 h 2602445"/>
                    <a:gd name="connsiteX35" fmla="*/ 7630651 w 8674845"/>
                    <a:gd name="connsiteY35" fmla="*/ 2602445 h 2602445"/>
                    <a:gd name="connsiteX36" fmla="*/ 7751135 w 8674845"/>
                    <a:gd name="connsiteY36" fmla="*/ 2602445 h 2602445"/>
                    <a:gd name="connsiteX37" fmla="*/ 8674845 w 8674845"/>
                    <a:gd name="connsiteY37" fmla="*/ 1421336 h 2602445"/>
                    <a:gd name="connsiteX38" fmla="*/ 7570409 w 8674845"/>
                    <a:gd name="connsiteY38" fmla="*/ 780734 h 2602445"/>
                    <a:gd name="connsiteX39" fmla="*/ 4959924 w 8674845"/>
                    <a:gd name="connsiteY39" fmla="*/ 0 h 26024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</a:cxnLst>
                  <a:rect l="l" t="t" r="r" b="b"/>
                  <a:pathLst>
                    <a:path w="8674845" h="2602445">
                      <a:moveTo>
                        <a:pt x="478765" y="1422104"/>
                      </a:moveTo>
                      <a:cubicBezTo>
                        <a:pt x="579497" y="1461608"/>
                        <a:pt x="639936" y="1520864"/>
                        <a:pt x="639936" y="1580119"/>
                      </a:cubicBezTo>
                      <a:cubicBezTo>
                        <a:pt x="639936" y="1678879"/>
                        <a:pt x="418326" y="1777638"/>
                        <a:pt x="156424" y="1777638"/>
                      </a:cubicBezTo>
                      <a:cubicBezTo>
                        <a:pt x="216863" y="1639375"/>
                        <a:pt x="297448" y="1520864"/>
                        <a:pt x="478765" y="1422104"/>
                      </a:cubicBezTo>
                      <a:close/>
                      <a:moveTo>
                        <a:pt x="8482315" y="1194564"/>
                      </a:moveTo>
                      <a:cubicBezTo>
                        <a:pt x="8541385" y="1255190"/>
                        <a:pt x="8561075" y="1315816"/>
                        <a:pt x="8561075" y="1416860"/>
                      </a:cubicBezTo>
                      <a:cubicBezTo>
                        <a:pt x="8561075" y="1477486"/>
                        <a:pt x="8561075" y="1517903"/>
                        <a:pt x="8561075" y="1578529"/>
                      </a:cubicBezTo>
                      <a:cubicBezTo>
                        <a:pt x="8403555" y="1558320"/>
                        <a:pt x="8305104" y="1477486"/>
                        <a:pt x="8305104" y="1376442"/>
                      </a:cubicBezTo>
                      <a:cubicBezTo>
                        <a:pt x="8305104" y="1295608"/>
                        <a:pt x="8364175" y="1234981"/>
                        <a:pt x="8482315" y="1194564"/>
                      </a:cubicBezTo>
                      <a:close/>
                      <a:moveTo>
                        <a:pt x="6183132" y="511958"/>
                      </a:moveTo>
                      <a:cubicBezTo>
                        <a:pt x="6559778" y="691143"/>
                        <a:pt x="6797660" y="870327"/>
                        <a:pt x="6797660" y="870327"/>
                      </a:cubicBezTo>
                      <a:cubicBezTo>
                        <a:pt x="6797660" y="870327"/>
                        <a:pt x="6797660" y="870327"/>
                        <a:pt x="6143485" y="910146"/>
                      </a:cubicBezTo>
                      <a:close/>
                      <a:moveTo>
                        <a:pt x="4636056" y="199094"/>
                      </a:moveTo>
                      <a:cubicBezTo>
                        <a:pt x="4636056" y="199094"/>
                        <a:pt x="4636056" y="199094"/>
                        <a:pt x="4555714" y="978208"/>
                      </a:cubicBezTo>
                      <a:cubicBezTo>
                        <a:pt x="4555714" y="978208"/>
                        <a:pt x="4555714" y="978208"/>
                        <a:pt x="2687770" y="1038140"/>
                      </a:cubicBezTo>
                      <a:cubicBezTo>
                        <a:pt x="3330504" y="438822"/>
                        <a:pt x="3933066" y="239049"/>
                        <a:pt x="4636056" y="199094"/>
                      </a:cubicBezTo>
                      <a:close/>
                      <a:moveTo>
                        <a:pt x="4852491" y="199094"/>
                      </a:moveTo>
                      <a:cubicBezTo>
                        <a:pt x="5292452" y="199094"/>
                        <a:pt x="5752412" y="318103"/>
                        <a:pt x="6072384" y="456946"/>
                      </a:cubicBezTo>
                      <a:cubicBezTo>
                        <a:pt x="6072384" y="456946"/>
                        <a:pt x="6072384" y="456946"/>
                        <a:pt x="6032388" y="913147"/>
                      </a:cubicBezTo>
                      <a:cubicBezTo>
                        <a:pt x="6032388" y="913147"/>
                        <a:pt x="6032388" y="913147"/>
                        <a:pt x="4792496" y="952816"/>
                      </a:cubicBezTo>
                      <a:cubicBezTo>
                        <a:pt x="4792496" y="952816"/>
                        <a:pt x="4792496" y="952816"/>
                        <a:pt x="4852491" y="199094"/>
                      </a:cubicBezTo>
                      <a:close/>
                      <a:moveTo>
                        <a:pt x="4959924" y="0"/>
                      </a:moveTo>
                      <a:cubicBezTo>
                        <a:pt x="4096455" y="0"/>
                        <a:pt x="3273148" y="120113"/>
                        <a:pt x="2449841" y="960903"/>
                      </a:cubicBezTo>
                      <a:cubicBezTo>
                        <a:pt x="1405646" y="1040978"/>
                        <a:pt x="803227" y="1181110"/>
                        <a:pt x="542178" y="1261185"/>
                      </a:cubicBezTo>
                      <a:cubicBezTo>
                        <a:pt x="140565" y="1421336"/>
                        <a:pt x="0" y="1761655"/>
                        <a:pt x="0" y="2061937"/>
                      </a:cubicBezTo>
                      <a:cubicBezTo>
                        <a:pt x="0" y="2362219"/>
                        <a:pt x="80323" y="2602445"/>
                        <a:pt x="80323" y="2602445"/>
                      </a:cubicBezTo>
                      <a:cubicBezTo>
                        <a:pt x="863468" y="2602445"/>
                        <a:pt x="863468" y="2602445"/>
                        <a:pt x="863468" y="2602445"/>
                      </a:cubicBezTo>
                      <a:cubicBezTo>
                        <a:pt x="843388" y="2522370"/>
                        <a:pt x="823307" y="2442295"/>
                        <a:pt x="823307" y="2342201"/>
                      </a:cubicBezTo>
                      <a:cubicBezTo>
                        <a:pt x="823307" y="1901787"/>
                        <a:pt x="1204840" y="1541448"/>
                        <a:pt x="1646614" y="1541448"/>
                      </a:cubicBezTo>
                      <a:cubicBezTo>
                        <a:pt x="2108470" y="1541448"/>
                        <a:pt x="2469922" y="1901787"/>
                        <a:pt x="2469922" y="2342201"/>
                      </a:cubicBezTo>
                      <a:cubicBezTo>
                        <a:pt x="2469922" y="2442295"/>
                        <a:pt x="2449841" y="2522370"/>
                        <a:pt x="2429760" y="2602445"/>
                      </a:cubicBezTo>
                      <a:cubicBezTo>
                        <a:pt x="6064360" y="2602445"/>
                        <a:pt x="6064360" y="2602445"/>
                        <a:pt x="6064360" y="2602445"/>
                      </a:cubicBezTo>
                      <a:cubicBezTo>
                        <a:pt x="6044280" y="2522370"/>
                        <a:pt x="6024199" y="2442295"/>
                        <a:pt x="6024199" y="2342201"/>
                      </a:cubicBezTo>
                      <a:cubicBezTo>
                        <a:pt x="6024199" y="1901787"/>
                        <a:pt x="6385650" y="1541448"/>
                        <a:pt x="6847505" y="1541448"/>
                      </a:cubicBezTo>
                      <a:cubicBezTo>
                        <a:pt x="7289280" y="1541448"/>
                        <a:pt x="7670813" y="1901787"/>
                        <a:pt x="7670813" y="2342201"/>
                      </a:cubicBezTo>
                      <a:cubicBezTo>
                        <a:pt x="7670813" y="2442295"/>
                        <a:pt x="7650732" y="2522370"/>
                        <a:pt x="7630651" y="2602445"/>
                      </a:cubicBezTo>
                      <a:cubicBezTo>
                        <a:pt x="7751135" y="2602445"/>
                        <a:pt x="7751135" y="2602445"/>
                        <a:pt x="7751135" y="2602445"/>
                      </a:cubicBezTo>
                      <a:cubicBezTo>
                        <a:pt x="8634684" y="2602445"/>
                        <a:pt x="8674845" y="2182050"/>
                        <a:pt x="8674845" y="1421336"/>
                      </a:cubicBezTo>
                      <a:cubicBezTo>
                        <a:pt x="8674845" y="840790"/>
                        <a:pt x="8052345" y="1020959"/>
                        <a:pt x="7570409" y="780734"/>
                      </a:cubicBezTo>
                      <a:cubicBezTo>
                        <a:pt x="7108554" y="540508"/>
                        <a:pt x="6144683" y="0"/>
                        <a:pt x="4959924" y="0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>
                    <a:defRPr/>
                  </a:pPr>
                  <a:endParaRPr lang="en-GB">
                    <a:solidFill>
                      <a:srgbClr val="000000"/>
                    </a:solidFill>
                    <a:latin typeface="Honeywell Sans" panose="02010503040101060203" pitchFamily="50" charset="0"/>
                  </a:endParaRPr>
                </a:p>
              </p:txBody>
            </p:sp>
            <p:sp>
              <p:nvSpPr>
                <p:cNvPr id="344" name="Oval 343"/>
                <p:cNvSpPr>
                  <a:spLocks noChangeArrowheads="1"/>
                </p:cNvSpPr>
                <p:nvPr/>
              </p:nvSpPr>
              <p:spPr bwMode="auto">
                <a:xfrm flipH="1">
                  <a:off x="2896264" y="3535659"/>
                  <a:ext cx="1422105" cy="1422104"/>
                </a:xfrm>
                <a:prstGeom prst="ellipse">
                  <a:avLst/>
                </a:pr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>
                    <a:defRPr/>
                  </a:pPr>
                  <a:endParaRPr lang="en-GB">
                    <a:solidFill>
                      <a:srgbClr val="000000"/>
                    </a:solidFill>
                    <a:latin typeface="Honeywell Sans" panose="02010503040101060203" pitchFamily="50" charset="0"/>
                  </a:endParaRPr>
                </a:p>
              </p:txBody>
            </p:sp>
            <p:sp>
              <p:nvSpPr>
                <p:cNvPr id="345" name="Oval 344"/>
                <p:cNvSpPr>
                  <a:spLocks noChangeArrowheads="1"/>
                </p:cNvSpPr>
                <p:nvPr/>
              </p:nvSpPr>
              <p:spPr bwMode="auto">
                <a:xfrm flipH="1">
                  <a:off x="3095358" y="3734753"/>
                  <a:ext cx="995470" cy="1009693"/>
                </a:xfrm>
                <a:prstGeom prst="ellipse">
                  <a:avLst/>
                </a:pr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>
                    <a:defRPr/>
                  </a:pPr>
                  <a:endParaRPr lang="en-GB">
                    <a:solidFill>
                      <a:srgbClr val="000000"/>
                    </a:solidFill>
                    <a:latin typeface="Honeywell Sans" panose="02010503040101060203" pitchFamily="50" charset="0"/>
                  </a:endParaRPr>
                </a:p>
              </p:txBody>
            </p:sp>
            <p:sp>
              <p:nvSpPr>
                <p:cNvPr id="346" name="Oval 345"/>
                <p:cNvSpPr>
                  <a:spLocks noChangeArrowheads="1"/>
                </p:cNvSpPr>
                <p:nvPr/>
              </p:nvSpPr>
              <p:spPr bwMode="auto">
                <a:xfrm flipH="1">
                  <a:off x="8072725" y="3535659"/>
                  <a:ext cx="1422105" cy="1422104"/>
                </a:xfrm>
                <a:prstGeom prst="ellipse">
                  <a:avLst/>
                </a:pr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>
                    <a:defRPr/>
                  </a:pPr>
                  <a:endParaRPr lang="en-GB">
                    <a:solidFill>
                      <a:srgbClr val="000000"/>
                    </a:solidFill>
                    <a:latin typeface="Honeywell Sans" panose="02010503040101060203" pitchFamily="50" charset="0"/>
                  </a:endParaRPr>
                </a:p>
              </p:txBody>
            </p:sp>
            <p:sp>
              <p:nvSpPr>
                <p:cNvPr id="347" name="Oval 346"/>
                <p:cNvSpPr>
                  <a:spLocks noChangeArrowheads="1"/>
                </p:cNvSpPr>
                <p:nvPr/>
              </p:nvSpPr>
              <p:spPr bwMode="auto">
                <a:xfrm flipH="1">
                  <a:off x="8286042" y="3734753"/>
                  <a:ext cx="1009694" cy="1009693"/>
                </a:xfrm>
                <a:prstGeom prst="ellipse">
                  <a:avLst/>
                </a:pr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>
                    <a:defRPr/>
                  </a:pPr>
                  <a:endParaRPr lang="en-GB">
                    <a:solidFill>
                      <a:srgbClr val="000000"/>
                    </a:solidFill>
                    <a:latin typeface="Honeywell Sans" panose="02010503040101060203" pitchFamily="50" charset="0"/>
                  </a:endParaRPr>
                </a:p>
              </p:txBody>
            </p:sp>
          </p:grpSp>
          <p:cxnSp>
            <p:nvCxnSpPr>
              <p:cNvPr id="342" name="Straight Connector 341"/>
              <p:cNvCxnSpPr/>
              <p:nvPr/>
            </p:nvCxnSpPr>
            <p:spPr bwMode="auto">
              <a:xfrm>
                <a:off x="7447364" y="6131478"/>
                <a:ext cx="887934" cy="0"/>
              </a:xfrm>
              <a:prstGeom prst="line">
                <a:avLst/>
              </a:prstGeom>
              <a:noFill/>
              <a:ln w="28575" cap="rnd">
                <a:solidFill>
                  <a:schemeClr val="tx1">
                    <a:lumMod val="65000"/>
                    <a:lumOff val="35000"/>
                  </a:schemeClr>
                </a:solidFill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rgbClr val="0005FF"/>
                    </a:solidFill>
                  </a14:hiddenFill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</p:grpSp>
      <p:sp>
        <p:nvSpPr>
          <p:cNvPr id="410" name="Freeform: Shape 706"/>
          <p:cNvSpPr/>
          <p:nvPr/>
        </p:nvSpPr>
        <p:spPr>
          <a:xfrm rot="17123665">
            <a:off x="3016712" y="4878956"/>
            <a:ext cx="299330" cy="154651"/>
          </a:xfrm>
          <a:custGeom>
            <a:avLst/>
            <a:gdLst>
              <a:gd name="connsiteX0" fmla="*/ 0 w 357007"/>
              <a:gd name="connsiteY0" fmla="*/ 80614 h 87524"/>
              <a:gd name="connsiteX1" fmla="*/ 200385 w 357007"/>
              <a:gd name="connsiteY1" fmla="*/ 0 h 87524"/>
              <a:gd name="connsiteX2" fmla="*/ 357007 w 357007"/>
              <a:gd name="connsiteY2" fmla="*/ 87524 h 875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57007" h="87524">
                <a:moveTo>
                  <a:pt x="0" y="80614"/>
                </a:moveTo>
                <a:lnTo>
                  <a:pt x="200385" y="0"/>
                </a:lnTo>
                <a:lnTo>
                  <a:pt x="357007" y="87524"/>
                </a:lnTo>
              </a:path>
            </a:pathLst>
          </a:custGeom>
          <a:noFill/>
          <a:ln w="28575" cap="rnd">
            <a:solidFill>
              <a:schemeClr val="accent3">
                <a:lumMod val="60000"/>
                <a:lumOff val="40000"/>
              </a:schemeClr>
            </a:solidFill>
            <a:prstDash val="soli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20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411" name="Freeform: Shape 706"/>
          <p:cNvSpPr/>
          <p:nvPr/>
        </p:nvSpPr>
        <p:spPr>
          <a:xfrm rot="8032005">
            <a:off x="6915247" y="1624724"/>
            <a:ext cx="299330" cy="154651"/>
          </a:xfrm>
          <a:custGeom>
            <a:avLst/>
            <a:gdLst>
              <a:gd name="connsiteX0" fmla="*/ 0 w 357007"/>
              <a:gd name="connsiteY0" fmla="*/ 80614 h 87524"/>
              <a:gd name="connsiteX1" fmla="*/ 200385 w 357007"/>
              <a:gd name="connsiteY1" fmla="*/ 0 h 87524"/>
              <a:gd name="connsiteX2" fmla="*/ 357007 w 357007"/>
              <a:gd name="connsiteY2" fmla="*/ 87524 h 875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57007" h="87524">
                <a:moveTo>
                  <a:pt x="0" y="80614"/>
                </a:moveTo>
                <a:lnTo>
                  <a:pt x="200385" y="0"/>
                </a:lnTo>
                <a:lnTo>
                  <a:pt x="357007" y="87524"/>
                </a:lnTo>
              </a:path>
            </a:pathLst>
          </a:custGeom>
          <a:noFill/>
          <a:ln w="28575" cap="rnd">
            <a:solidFill>
              <a:schemeClr val="accent3">
                <a:lumMod val="60000"/>
                <a:lumOff val="40000"/>
              </a:schemeClr>
            </a:solidFill>
            <a:prstDash val="soli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20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412" name="Text Placeholder 5"/>
          <p:cNvSpPr txBox="1">
            <a:spLocks/>
          </p:cNvSpPr>
          <p:nvPr/>
        </p:nvSpPr>
        <p:spPr>
          <a:xfrm>
            <a:off x="3696874" y="5316341"/>
            <a:ext cx="5155299" cy="324799"/>
          </a:xfrm>
          <a:prstGeom prst="rect">
            <a:avLst/>
          </a:prstGeom>
        </p:spPr>
        <p:txBody>
          <a:bodyPr/>
          <a:lstStyle>
            <a:lvl1pPr marL="169863" indent="-169863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00000"/>
              </a:buClr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1pPr>
            <a:lvl2pPr marL="627063" indent="-169863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-"/>
              <a:defRPr kern="120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2pPr>
            <a:lvl3pPr marL="1084263" indent="-169863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F7F7F"/>
              </a:buClr>
              <a:buSzPct val="9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Helvetica Neue"/>
                <a:ea typeface="Helvetica Neue"/>
                <a:cs typeface="Helvetica Neue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Helvetica Neue"/>
                <a:ea typeface="Helvetica Neue"/>
                <a:cs typeface="Helvetica Neue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800" dirty="0" smtClean="0">
                <a:solidFill>
                  <a:schemeClr val="tx2"/>
                </a:solidFill>
                <a:latin typeface="Honeywell Cond" panose="020B0806030202060103" pitchFamily="34" charset="0"/>
              </a:rPr>
              <a:t>Physical and Cyber Security</a:t>
            </a:r>
            <a:endParaRPr lang="en-US" sz="1800" dirty="0">
              <a:solidFill>
                <a:schemeClr val="tx2"/>
              </a:solidFill>
              <a:latin typeface="Honeywell Cond" panose="020B08060302020601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91592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12" grpId="0" build="p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192" y="85844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192" y="85844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" name="Rectangle: Top Corners Rounded 76"/>
          <p:cNvSpPr/>
          <p:nvPr/>
        </p:nvSpPr>
        <p:spPr>
          <a:xfrm flipH="1">
            <a:off x="5685564" y="5054070"/>
            <a:ext cx="6506435" cy="1813358"/>
          </a:xfrm>
          <a:prstGeom prst="round1Rect">
            <a:avLst>
              <a:gd name="adj" fmla="val 50000"/>
            </a:avLst>
          </a:prstGeom>
          <a:solidFill>
            <a:schemeClr val="accent3">
              <a:alpha val="20000"/>
            </a:schemeClr>
          </a:solidFill>
          <a:ln w="127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 kern="0" dirty="0">
              <a:solidFill>
                <a:srgbClr val="707070"/>
              </a:solidFill>
              <a:cs typeface="Arial" pitchFamily="34" charset="0"/>
            </a:endParaRPr>
          </a:p>
        </p:txBody>
      </p:sp>
      <p:sp>
        <p:nvSpPr>
          <p:cNvPr id="54" name="Rectangle: Top Corners Rounded 76"/>
          <p:cNvSpPr/>
          <p:nvPr/>
        </p:nvSpPr>
        <p:spPr>
          <a:xfrm>
            <a:off x="0" y="5054070"/>
            <a:ext cx="6506435" cy="1813358"/>
          </a:xfrm>
          <a:prstGeom prst="round1Rect">
            <a:avLst>
              <a:gd name="adj" fmla="val 50000"/>
            </a:avLst>
          </a:prstGeom>
          <a:solidFill>
            <a:schemeClr val="accent3">
              <a:alpha val="20000"/>
            </a:schemeClr>
          </a:solidFill>
          <a:ln w="127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 kern="0" dirty="0">
              <a:solidFill>
                <a:srgbClr val="707070"/>
              </a:solidFill>
              <a:cs typeface="Arial" pitchFamily="34" charset="0"/>
            </a:endParaRPr>
          </a:p>
        </p:txBody>
      </p:sp>
      <p:sp>
        <p:nvSpPr>
          <p:cNvPr id="55" name="Rectangle 24"/>
          <p:cNvSpPr txBox="1">
            <a:spLocks noChangeArrowheads="1"/>
          </p:cNvSpPr>
          <p:nvPr/>
        </p:nvSpPr>
        <p:spPr bwMode="auto">
          <a:xfrm>
            <a:off x="2355371" y="5395705"/>
            <a:ext cx="3825707" cy="612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90000" tIns="45720" rIns="0" bIns="45720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>
              <a:defRPr sz="2800" b="1">
                <a:solidFill>
                  <a:srgbClr val="FFFFFF"/>
                </a:solidFill>
                <a:latin typeface="Arial" pitchFamily="34" charset="0"/>
                <a:ea typeface="Arial" charset="0"/>
                <a:cs typeface="Arial" pitchFamily="34" charset="0"/>
              </a:defRPr>
            </a:lvl1pPr>
            <a:lvl2pPr>
              <a:defRPr sz="2800" b="1"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2pPr>
            <a:lvl3pPr>
              <a:defRPr sz="2800" b="1"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3pPr>
            <a:lvl4pPr>
              <a:defRPr sz="2800" b="1"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4pPr>
            <a:lvl5pPr>
              <a:defRPr sz="2800" b="1"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5pPr>
            <a:lvl6pPr marL="457200" defTabSz="457200" fontAlgn="base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defTabSz="457200" fontAlgn="base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defTabSz="457200" fontAlgn="base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defTabSz="457200" fontAlgn="base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68275" indent="-168275">
              <a:buClr>
                <a:srgbClr val="E1261C"/>
              </a:buClr>
              <a:buFont typeface="Arial" panose="020B0604020202020204" pitchFamily="34" charset="0"/>
              <a:buChar char="•"/>
              <a:defRPr/>
            </a:pPr>
            <a:r>
              <a:rPr lang="en-US" sz="1800" b="0" kern="0" dirty="0">
                <a:solidFill>
                  <a:srgbClr val="707070">
                    <a:lumMod val="50000"/>
                  </a:srgbClr>
                </a:solidFill>
                <a:latin typeface="Honeywell Cond"/>
              </a:rPr>
              <a:t>Optimize process yields</a:t>
            </a:r>
          </a:p>
          <a:p>
            <a:pPr marL="168275" indent="-168275">
              <a:buClr>
                <a:srgbClr val="E1261C"/>
              </a:buClr>
              <a:buFont typeface="Arial" panose="020B0604020202020204" pitchFamily="34" charset="0"/>
              <a:buChar char="•"/>
              <a:defRPr/>
            </a:pPr>
            <a:r>
              <a:rPr lang="en-US" sz="1800" b="0" kern="0" dirty="0">
                <a:solidFill>
                  <a:srgbClr val="707070">
                    <a:lumMod val="50000"/>
                  </a:srgbClr>
                </a:solidFill>
                <a:latin typeface="Honeywell Cond"/>
              </a:rPr>
              <a:t>Maximize mix of feeds to convert</a:t>
            </a:r>
          </a:p>
          <a:p>
            <a:pPr marL="168275" indent="-168275">
              <a:buClr>
                <a:srgbClr val="E1261C"/>
              </a:buClr>
              <a:buFont typeface="Arial" panose="020B0604020202020204" pitchFamily="34" charset="0"/>
              <a:buChar char="•"/>
              <a:defRPr/>
            </a:pPr>
            <a:r>
              <a:rPr lang="en-US" sz="1800" b="0" kern="0" dirty="0">
                <a:solidFill>
                  <a:srgbClr val="707070">
                    <a:lumMod val="50000"/>
                  </a:srgbClr>
                </a:solidFill>
                <a:latin typeface="Honeywell Cond"/>
              </a:rPr>
              <a:t>Lower energy utilization</a:t>
            </a:r>
            <a:endParaRPr lang="en-US" sz="1800" b="0" kern="0" dirty="0">
              <a:solidFill>
                <a:srgbClr val="707070">
                  <a:lumMod val="50000"/>
                </a:srgbClr>
              </a:solidFill>
              <a:latin typeface="Honeywell Sans" panose="02010503040101060203" pitchFamily="50" charset="0"/>
            </a:endParaRPr>
          </a:p>
        </p:txBody>
      </p:sp>
      <p:sp>
        <p:nvSpPr>
          <p:cNvPr id="56" name="Rectangle 24"/>
          <p:cNvSpPr txBox="1">
            <a:spLocks noChangeArrowheads="1"/>
          </p:cNvSpPr>
          <p:nvPr/>
        </p:nvSpPr>
        <p:spPr bwMode="auto">
          <a:xfrm>
            <a:off x="6596019" y="5395705"/>
            <a:ext cx="3621536" cy="5287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9000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>
              <a:defRPr sz="2800" b="1">
                <a:solidFill>
                  <a:srgbClr val="FFFFFF"/>
                </a:solidFill>
                <a:latin typeface="Arial" pitchFamily="34" charset="0"/>
                <a:ea typeface="Arial" charset="0"/>
                <a:cs typeface="Arial" pitchFamily="34" charset="0"/>
              </a:defRPr>
            </a:lvl1pPr>
            <a:lvl2pPr>
              <a:defRPr sz="2800" b="1"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2pPr>
            <a:lvl3pPr>
              <a:defRPr sz="2800" b="1"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3pPr>
            <a:lvl4pPr>
              <a:defRPr sz="2800" b="1"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4pPr>
            <a:lvl5pPr>
              <a:defRPr sz="2800" b="1"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5pPr>
            <a:lvl6pPr marL="457200" defTabSz="457200" fontAlgn="base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defTabSz="457200" fontAlgn="base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defTabSz="457200" fontAlgn="base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defTabSz="457200" fontAlgn="base">
              <a:spcBef>
                <a:spcPct val="0"/>
              </a:spcBef>
              <a:spcAft>
                <a:spcPct val="0"/>
              </a:spcAft>
              <a:defRPr sz="2400" b="1"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68275" indent="-168275">
              <a:buClr>
                <a:srgbClr val="E1261C"/>
              </a:buClr>
              <a:buFont typeface="Arial" panose="020B0604020202020204" pitchFamily="34" charset="0"/>
              <a:buChar char="•"/>
              <a:defRPr/>
            </a:pPr>
            <a:r>
              <a:rPr lang="en-US" sz="1800" b="0" kern="0" dirty="0">
                <a:solidFill>
                  <a:srgbClr val="707070">
                    <a:lumMod val="50000"/>
                  </a:srgbClr>
                </a:solidFill>
                <a:latin typeface="Honeywell Cond"/>
              </a:rPr>
              <a:t>Extend useful catalyst lifetime</a:t>
            </a:r>
          </a:p>
          <a:p>
            <a:pPr marL="168275" indent="-168275">
              <a:buClr>
                <a:srgbClr val="E1261C"/>
              </a:buClr>
              <a:buFont typeface="Arial" panose="020B0604020202020204" pitchFamily="34" charset="0"/>
              <a:buChar char="•"/>
              <a:defRPr/>
            </a:pPr>
            <a:r>
              <a:rPr lang="en-US" sz="1800" b="0" kern="0" dirty="0">
                <a:solidFill>
                  <a:srgbClr val="707070">
                    <a:lumMod val="50000"/>
                  </a:srgbClr>
                </a:solidFill>
                <a:latin typeface="Honeywell Cond"/>
              </a:rPr>
              <a:t>Benchmark site-to-site operations</a:t>
            </a:r>
            <a:endParaRPr lang="en-US" sz="1800" b="0" kern="0" dirty="0">
              <a:solidFill>
                <a:srgbClr val="707070">
                  <a:lumMod val="50000"/>
                </a:srgbClr>
              </a:solidFill>
              <a:latin typeface="Honeywell Sans" panose="02010503040101060203" pitchFamily="50" charset="0"/>
            </a:endParaRPr>
          </a:p>
        </p:txBody>
      </p:sp>
      <p:sp>
        <p:nvSpPr>
          <p:cNvPr id="57" name="Freeform 5"/>
          <p:cNvSpPr>
            <a:spLocks/>
          </p:cNvSpPr>
          <p:nvPr/>
        </p:nvSpPr>
        <p:spPr bwMode="auto">
          <a:xfrm>
            <a:off x="5828942" y="1242669"/>
            <a:ext cx="4386563" cy="2310139"/>
          </a:xfrm>
          <a:custGeom>
            <a:avLst/>
            <a:gdLst>
              <a:gd name="T0" fmla="*/ 727 w 864"/>
              <a:gd name="T1" fmla="*/ 286 h 551"/>
              <a:gd name="T2" fmla="*/ 775 w 864"/>
              <a:gd name="T3" fmla="*/ 299 h 551"/>
              <a:gd name="T4" fmla="*/ 856 w 864"/>
              <a:gd name="T5" fmla="*/ 432 h 551"/>
              <a:gd name="T6" fmla="*/ 742 w 864"/>
              <a:gd name="T7" fmla="*/ 549 h 551"/>
              <a:gd name="T8" fmla="*/ 715 w 864"/>
              <a:gd name="T9" fmla="*/ 551 h 551"/>
              <a:gd name="T10" fmla="*/ 168 w 864"/>
              <a:gd name="T11" fmla="*/ 551 h 551"/>
              <a:gd name="T12" fmla="*/ 9 w 864"/>
              <a:gd name="T13" fmla="*/ 408 h 551"/>
              <a:gd name="T14" fmla="*/ 131 w 864"/>
              <a:gd name="T15" fmla="*/ 230 h 551"/>
              <a:gd name="T16" fmla="*/ 138 w 864"/>
              <a:gd name="T17" fmla="*/ 220 h 551"/>
              <a:gd name="T18" fmla="*/ 231 w 864"/>
              <a:gd name="T19" fmla="*/ 58 h 551"/>
              <a:gd name="T20" fmla="*/ 502 w 864"/>
              <a:gd name="T21" fmla="*/ 125 h 551"/>
              <a:gd name="T22" fmla="*/ 521 w 864"/>
              <a:gd name="T23" fmla="*/ 133 h 551"/>
              <a:gd name="T24" fmla="*/ 725 w 864"/>
              <a:gd name="T25" fmla="*/ 273 h 551"/>
              <a:gd name="T26" fmla="*/ 727 w 864"/>
              <a:gd name="T27" fmla="*/ 286 h 5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864" h="551">
                <a:moveTo>
                  <a:pt x="727" y="286"/>
                </a:moveTo>
                <a:cubicBezTo>
                  <a:pt x="744" y="290"/>
                  <a:pt x="760" y="293"/>
                  <a:pt x="775" y="299"/>
                </a:cubicBezTo>
                <a:cubicBezTo>
                  <a:pt x="829" y="319"/>
                  <a:pt x="864" y="377"/>
                  <a:pt x="856" y="432"/>
                </a:cubicBezTo>
                <a:cubicBezTo>
                  <a:pt x="848" y="496"/>
                  <a:pt x="803" y="542"/>
                  <a:pt x="742" y="549"/>
                </a:cubicBezTo>
                <a:cubicBezTo>
                  <a:pt x="733" y="551"/>
                  <a:pt x="724" y="551"/>
                  <a:pt x="715" y="551"/>
                </a:cubicBezTo>
                <a:cubicBezTo>
                  <a:pt x="533" y="551"/>
                  <a:pt x="350" y="551"/>
                  <a:pt x="168" y="551"/>
                </a:cubicBezTo>
                <a:cubicBezTo>
                  <a:pt x="88" y="551"/>
                  <a:pt x="17" y="487"/>
                  <a:pt x="9" y="408"/>
                </a:cubicBezTo>
                <a:cubicBezTo>
                  <a:pt x="0" y="323"/>
                  <a:pt x="49" y="252"/>
                  <a:pt x="131" y="230"/>
                </a:cubicBezTo>
                <a:cubicBezTo>
                  <a:pt x="138" y="228"/>
                  <a:pt x="138" y="225"/>
                  <a:pt x="138" y="220"/>
                </a:cubicBezTo>
                <a:cubicBezTo>
                  <a:pt x="142" y="150"/>
                  <a:pt x="172" y="95"/>
                  <a:pt x="231" y="58"/>
                </a:cubicBezTo>
                <a:cubicBezTo>
                  <a:pt x="324" y="0"/>
                  <a:pt x="447" y="30"/>
                  <a:pt x="502" y="125"/>
                </a:cubicBezTo>
                <a:cubicBezTo>
                  <a:pt x="507" y="134"/>
                  <a:pt x="512" y="136"/>
                  <a:pt x="521" y="133"/>
                </a:cubicBezTo>
                <a:cubicBezTo>
                  <a:pt x="617" y="105"/>
                  <a:pt x="716" y="173"/>
                  <a:pt x="725" y="273"/>
                </a:cubicBezTo>
                <a:cubicBezTo>
                  <a:pt x="726" y="278"/>
                  <a:pt x="726" y="283"/>
                  <a:pt x="727" y="286"/>
                </a:cubicBezTo>
                <a:close/>
              </a:path>
            </a:pathLst>
          </a:custGeom>
          <a:solidFill>
            <a:srgbClr val="1792E5">
              <a:alpha val="12157"/>
            </a:srgbClr>
          </a:solidFill>
          <a:ln>
            <a:noFill/>
          </a:ln>
          <a:effectLst>
            <a:glow rad="38100">
              <a:schemeClr val="bg1">
                <a:alpha val="40000"/>
              </a:schemeClr>
            </a:glo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000000"/>
              </a:solidFill>
              <a:latin typeface="Arial" charset="0"/>
              <a:cs typeface="Arial" pitchFamily="34" charset="0"/>
            </a:endParaRPr>
          </a:p>
        </p:txBody>
      </p:sp>
      <p:cxnSp>
        <p:nvCxnSpPr>
          <p:cNvPr id="58" name="Straight Arrow Connector 57"/>
          <p:cNvCxnSpPr/>
          <p:nvPr/>
        </p:nvCxnSpPr>
        <p:spPr>
          <a:xfrm flipH="1" flipV="1">
            <a:off x="3234562" y="3862969"/>
            <a:ext cx="4354554" cy="34743"/>
          </a:xfrm>
          <a:prstGeom prst="straightConnector1">
            <a:avLst/>
          </a:prstGeom>
          <a:ln w="38100" cmpd="sng">
            <a:solidFill>
              <a:schemeClr val="accent5">
                <a:lumMod val="75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9" name="Freeform 5"/>
          <p:cNvSpPr>
            <a:spLocks/>
          </p:cNvSpPr>
          <p:nvPr/>
        </p:nvSpPr>
        <p:spPr bwMode="auto">
          <a:xfrm>
            <a:off x="6014004" y="521051"/>
            <a:ext cx="5759146" cy="3032996"/>
          </a:xfrm>
          <a:custGeom>
            <a:avLst/>
            <a:gdLst>
              <a:gd name="T0" fmla="*/ 727 w 864"/>
              <a:gd name="T1" fmla="*/ 286 h 551"/>
              <a:gd name="T2" fmla="*/ 775 w 864"/>
              <a:gd name="T3" fmla="*/ 299 h 551"/>
              <a:gd name="T4" fmla="*/ 856 w 864"/>
              <a:gd name="T5" fmla="*/ 432 h 551"/>
              <a:gd name="T6" fmla="*/ 742 w 864"/>
              <a:gd name="T7" fmla="*/ 549 h 551"/>
              <a:gd name="T8" fmla="*/ 715 w 864"/>
              <a:gd name="T9" fmla="*/ 551 h 551"/>
              <a:gd name="T10" fmla="*/ 168 w 864"/>
              <a:gd name="T11" fmla="*/ 551 h 551"/>
              <a:gd name="T12" fmla="*/ 9 w 864"/>
              <a:gd name="T13" fmla="*/ 408 h 551"/>
              <a:gd name="T14" fmla="*/ 131 w 864"/>
              <a:gd name="T15" fmla="*/ 230 h 551"/>
              <a:gd name="T16" fmla="*/ 138 w 864"/>
              <a:gd name="T17" fmla="*/ 220 h 551"/>
              <a:gd name="T18" fmla="*/ 231 w 864"/>
              <a:gd name="T19" fmla="*/ 58 h 551"/>
              <a:gd name="T20" fmla="*/ 502 w 864"/>
              <a:gd name="T21" fmla="*/ 125 h 551"/>
              <a:gd name="T22" fmla="*/ 521 w 864"/>
              <a:gd name="T23" fmla="*/ 133 h 551"/>
              <a:gd name="T24" fmla="*/ 725 w 864"/>
              <a:gd name="T25" fmla="*/ 273 h 551"/>
              <a:gd name="T26" fmla="*/ 727 w 864"/>
              <a:gd name="T27" fmla="*/ 286 h 5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864" h="551">
                <a:moveTo>
                  <a:pt x="727" y="286"/>
                </a:moveTo>
                <a:cubicBezTo>
                  <a:pt x="744" y="290"/>
                  <a:pt x="760" y="293"/>
                  <a:pt x="775" y="299"/>
                </a:cubicBezTo>
                <a:cubicBezTo>
                  <a:pt x="829" y="319"/>
                  <a:pt x="864" y="377"/>
                  <a:pt x="856" y="432"/>
                </a:cubicBezTo>
                <a:cubicBezTo>
                  <a:pt x="848" y="496"/>
                  <a:pt x="803" y="542"/>
                  <a:pt x="742" y="549"/>
                </a:cubicBezTo>
                <a:cubicBezTo>
                  <a:pt x="733" y="551"/>
                  <a:pt x="724" y="551"/>
                  <a:pt x="715" y="551"/>
                </a:cubicBezTo>
                <a:cubicBezTo>
                  <a:pt x="533" y="551"/>
                  <a:pt x="350" y="551"/>
                  <a:pt x="168" y="551"/>
                </a:cubicBezTo>
                <a:cubicBezTo>
                  <a:pt x="88" y="551"/>
                  <a:pt x="17" y="487"/>
                  <a:pt x="9" y="408"/>
                </a:cubicBezTo>
                <a:cubicBezTo>
                  <a:pt x="0" y="323"/>
                  <a:pt x="49" y="252"/>
                  <a:pt x="131" y="230"/>
                </a:cubicBezTo>
                <a:cubicBezTo>
                  <a:pt x="138" y="228"/>
                  <a:pt x="138" y="225"/>
                  <a:pt x="138" y="220"/>
                </a:cubicBezTo>
                <a:cubicBezTo>
                  <a:pt x="142" y="150"/>
                  <a:pt x="172" y="95"/>
                  <a:pt x="231" y="58"/>
                </a:cubicBezTo>
                <a:cubicBezTo>
                  <a:pt x="324" y="0"/>
                  <a:pt x="447" y="30"/>
                  <a:pt x="502" y="125"/>
                </a:cubicBezTo>
                <a:cubicBezTo>
                  <a:pt x="507" y="134"/>
                  <a:pt x="512" y="136"/>
                  <a:pt x="521" y="133"/>
                </a:cubicBezTo>
                <a:cubicBezTo>
                  <a:pt x="617" y="105"/>
                  <a:pt x="716" y="173"/>
                  <a:pt x="725" y="273"/>
                </a:cubicBezTo>
                <a:cubicBezTo>
                  <a:pt x="726" y="278"/>
                  <a:pt x="726" y="283"/>
                  <a:pt x="727" y="286"/>
                </a:cubicBezTo>
                <a:close/>
              </a:path>
            </a:pathLst>
          </a:custGeom>
          <a:solidFill>
            <a:srgbClr val="1792E5">
              <a:alpha val="12157"/>
            </a:srgbClr>
          </a:solidFill>
          <a:ln>
            <a:noFill/>
          </a:ln>
          <a:effectLst>
            <a:glow rad="38100">
              <a:schemeClr val="bg1">
                <a:alpha val="40000"/>
              </a:schemeClr>
            </a:glo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000000"/>
              </a:solidFill>
              <a:latin typeface="Arial" charset="0"/>
              <a:cs typeface="Arial" pitchFamily="34" charset="0"/>
            </a:endParaRPr>
          </a:p>
        </p:txBody>
      </p:sp>
      <p:pic>
        <p:nvPicPr>
          <p:cNvPr id="60" name="Picture 59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030088" y="3580733"/>
            <a:ext cx="1272310" cy="1038859"/>
          </a:xfrm>
          <a:prstGeom prst="rect">
            <a:avLst/>
          </a:prstGeom>
        </p:spPr>
      </p:pic>
      <p:sp>
        <p:nvSpPr>
          <p:cNvPr id="61" name="Text Box 83"/>
          <p:cNvSpPr txBox="1">
            <a:spLocks noChangeArrowheads="1"/>
          </p:cNvSpPr>
          <p:nvPr/>
        </p:nvSpPr>
        <p:spPr bwMode="auto">
          <a:xfrm>
            <a:off x="9533694" y="2058615"/>
            <a:ext cx="1721060" cy="2215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defTabSz="4572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sz="1600" b="1" dirty="0">
                <a:solidFill>
                  <a:srgbClr val="707070">
                    <a:lumMod val="75000"/>
                  </a:srgbClr>
                </a:solidFill>
                <a:ea typeface="ＭＳ Ｐゴシック" pitchFamily="34" charset="-128"/>
                <a:cs typeface="Arial" pitchFamily="34" charset="0"/>
              </a:rPr>
              <a:t>Customer SME</a:t>
            </a:r>
          </a:p>
        </p:txBody>
      </p:sp>
      <p:sp>
        <p:nvSpPr>
          <p:cNvPr id="63" name="Text Box 83"/>
          <p:cNvSpPr txBox="1">
            <a:spLocks noChangeArrowheads="1"/>
          </p:cNvSpPr>
          <p:nvPr/>
        </p:nvSpPr>
        <p:spPr bwMode="auto">
          <a:xfrm>
            <a:off x="5415813" y="4165427"/>
            <a:ext cx="1718761" cy="2215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defTabSz="4572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sz="1600" b="1" dirty="0">
                <a:solidFill>
                  <a:srgbClr val="EE3124"/>
                </a:solidFill>
                <a:ea typeface="ＭＳ Ｐゴシック" pitchFamily="34" charset="-128"/>
                <a:cs typeface="Arial" pitchFamily="34" charset="0"/>
              </a:rPr>
              <a:t>Site Operations</a:t>
            </a:r>
          </a:p>
        </p:txBody>
      </p:sp>
      <p:cxnSp>
        <p:nvCxnSpPr>
          <p:cNvPr id="64" name="Shape 182"/>
          <p:cNvCxnSpPr/>
          <p:nvPr/>
        </p:nvCxnSpPr>
        <p:spPr>
          <a:xfrm flipV="1">
            <a:off x="3281655" y="2295952"/>
            <a:ext cx="3931920" cy="914400"/>
          </a:xfrm>
          <a:prstGeom prst="bentConnector3">
            <a:avLst>
              <a:gd name="adj1" fmla="val 28025"/>
            </a:avLst>
          </a:prstGeom>
          <a:ln w="38100">
            <a:solidFill>
              <a:schemeClr val="accent5">
                <a:lumMod val="7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Text Box 83"/>
          <p:cNvSpPr txBox="1">
            <a:spLocks noChangeArrowheads="1"/>
          </p:cNvSpPr>
          <p:nvPr/>
        </p:nvSpPr>
        <p:spPr bwMode="auto">
          <a:xfrm>
            <a:off x="6849441" y="1165394"/>
            <a:ext cx="3153690" cy="44319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defTabSz="4572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sz="1600" b="1" dirty="0">
                <a:solidFill>
                  <a:srgbClr val="EE3124"/>
                </a:solidFill>
                <a:ea typeface="ＭＳ Ｐゴシック" pitchFamily="34" charset="-128"/>
                <a:cs typeface="Arial" pitchFamily="34" charset="0"/>
              </a:rPr>
              <a:t>Cloud Based </a:t>
            </a:r>
          </a:p>
          <a:p>
            <a:pPr algn="ctr" defTabSz="4572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sz="1600" b="1" dirty="0">
                <a:solidFill>
                  <a:srgbClr val="EE3124"/>
                </a:solidFill>
                <a:ea typeface="ＭＳ Ｐゴシック" pitchFamily="34" charset="-128"/>
                <a:cs typeface="Arial" pitchFamily="34" charset="0"/>
              </a:rPr>
              <a:t>Multi-Asset Model “Digital Twin”</a:t>
            </a:r>
          </a:p>
        </p:txBody>
      </p:sp>
      <p:sp>
        <p:nvSpPr>
          <p:cNvPr id="69" name="Text Box 83"/>
          <p:cNvSpPr txBox="1">
            <a:spLocks noChangeArrowheads="1"/>
          </p:cNvSpPr>
          <p:nvPr/>
        </p:nvSpPr>
        <p:spPr bwMode="auto">
          <a:xfrm>
            <a:off x="9923791" y="2724591"/>
            <a:ext cx="992259" cy="44319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defTabSz="4572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sz="1600" dirty="0">
                <a:solidFill>
                  <a:srgbClr val="707070">
                    <a:lumMod val="50000"/>
                  </a:srgbClr>
                </a:solidFill>
                <a:ea typeface="ＭＳ Ｐゴシック" pitchFamily="34" charset="-128"/>
                <a:cs typeface="Arial" pitchFamily="34" charset="0"/>
              </a:rPr>
              <a:t>Iterative </a:t>
            </a:r>
          </a:p>
          <a:p>
            <a:pPr algn="ctr" defTabSz="4572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sz="1600" dirty="0">
                <a:solidFill>
                  <a:srgbClr val="707070">
                    <a:lumMod val="50000"/>
                  </a:srgbClr>
                </a:solidFill>
                <a:ea typeface="ＭＳ Ｐゴシック" pitchFamily="34" charset="-128"/>
                <a:cs typeface="Arial" pitchFamily="34" charset="0"/>
              </a:rPr>
              <a:t>Optimization</a:t>
            </a:r>
          </a:p>
        </p:txBody>
      </p:sp>
      <p:sp>
        <p:nvSpPr>
          <p:cNvPr id="70" name="Text Box 83"/>
          <p:cNvSpPr txBox="1">
            <a:spLocks noChangeArrowheads="1"/>
          </p:cNvSpPr>
          <p:nvPr/>
        </p:nvSpPr>
        <p:spPr bwMode="auto">
          <a:xfrm>
            <a:off x="3418236" y="4377405"/>
            <a:ext cx="565861" cy="2215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defTabSz="4572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sz="1600" dirty="0">
                <a:solidFill>
                  <a:srgbClr val="707070">
                    <a:lumMod val="50000"/>
                  </a:srgbClr>
                </a:solidFill>
                <a:ea typeface="ＭＳ Ｐゴシック" pitchFamily="34" charset="-128"/>
                <a:cs typeface="Arial" pitchFamily="34" charset="0"/>
              </a:rPr>
              <a:t>Actions</a:t>
            </a:r>
          </a:p>
        </p:txBody>
      </p:sp>
      <p:sp>
        <p:nvSpPr>
          <p:cNvPr id="71" name="Text Box 83"/>
          <p:cNvSpPr txBox="1">
            <a:spLocks noChangeArrowheads="1"/>
          </p:cNvSpPr>
          <p:nvPr/>
        </p:nvSpPr>
        <p:spPr bwMode="auto">
          <a:xfrm>
            <a:off x="4598503" y="2412750"/>
            <a:ext cx="797847" cy="44319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defTabSz="4572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sz="1600" dirty="0">
                <a:solidFill>
                  <a:srgbClr val="707070">
                    <a:lumMod val="75000"/>
                  </a:srgbClr>
                </a:solidFill>
                <a:ea typeface="ＭＳ Ｐゴシック" pitchFamily="34" charset="-128"/>
                <a:cs typeface="Arial" pitchFamily="34" charset="0"/>
              </a:rPr>
              <a:t>SECURED </a:t>
            </a:r>
          </a:p>
          <a:p>
            <a:pPr algn="ctr" defTabSz="4572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sz="1600" dirty="0">
                <a:solidFill>
                  <a:srgbClr val="707070">
                    <a:lumMod val="75000"/>
                  </a:srgbClr>
                </a:solidFill>
                <a:ea typeface="ＭＳ Ｐゴシック" pitchFamily="34" charset="-128"/>
                <a:cs typeface="Arial" pitchFamily="34" charset="0"/>
              </a:rPr>
              <a:t>DATA</a:t>
            </a:r>
          </a:p>
        </p:txBody>
      </p:sp>
      <p:sp>
        <p:nvSpPr>
          <p:cNvPr id="72" name="Text Box 83"/>
          <p:cNvSpPr txBox="1">
            <a:spLocks noChangeArrowheads="1"/>
          </p:cNvSpPr>
          <p:nvPr/>
        </p:nvSpPr>
        <p:spPr bwMode="auto">
          <a:xfrm>
            <a:off x="7176258" y="4377405"/>
            <a:ext cx="4176841" cy="2215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4572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sz="1600" dirty="0">
                <a:solidFill>
                  <a:srgbClr val="707070">
                    <a:lumMod val="50000"/>
                  </a:srgbClr>
                </a:solidFill>
                <a:ea typeface="ＭＳ Ｐゴシック" pitchFamily="34" charset="-128"/>
                <a:cs typeface="Arial" pitchFamily="34" charset="0"/>
              </a:rPr>
              <a:t>Insights &amp; Recommendations</a:t>
            </a:r>
          </a:p>
        </p:txBody>
      </p:sp>
      <p:sp>
        <p:nvSpPr>
          <p:cNvPr id="73" name="Oval 17"/>
          <p:cNvSpPr txBox="1">
            <a:spLocks noChangeArrowheads="1"/>
          </p:cNvSpPr>
          <p:nvPr/>
        </p:nvSpPr>
        <p:spPr bwMode="gray">
          <a:xfrm>
            <a:off x="6963421" y="1623588"/>
            <a:ext cx="387678" cy="387678"/>
          </a:xfrm>
          <a:prstGeom prst="ellipse">
            <a:avLst/>
          </a:prstGeom>
          <a:solidFill>
            <a:schemeClr val="accent1"/>
          </a:solidFill>
          <a:ln w="19050" algn="ctr">
            <a:noFill/>
            <a:round/>
            <a:headEnd/>
            <a:tailEnd/>
          </a:ln>
          <a:effectLst>
            <a:outerShdw blurRad="50800" dist="38100" dir="5400000" algn="t" rotWithShape="0">
              <a:srgbClr val="FFFFFF">
                <a:lumMod val="50000"/>
                <a:alpha val="40000"/>
              </a:srgbClr>
            </a:outerShdw>
          </a:effectLst>
          <a:extLst/>
        </p:spPr>
        <p:txBody>
          <a:bodyPr wrap="none" lIns="0" tIns="0" rIns="0" bIns="0" anchor="ctr" anchorCtr="1"/>
          <a:lstStyle>
            <a:defPPr>
              <a:defRPr lang="en-US"/>
            </a:defPPr>
            <a:lvl1pPr marR="0" lvl="0" indent="0" defTabSz="89535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1261C"/>
              </a:buClr>
              <a:buSzTx/>
              <a:buFontTx/>
              <a:buNone/>
              <a:tabLst/>
              <a:defRPr kumimoji="0" sz="14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defRPr>
            </a:lvl1pPr>
            <a:lvl2pPr marL="193675" indent="-192088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/>
            </a:lvl2pPr>
            <a:lvl3pPr marL="457200" indent="-261938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/>
            </a:lvl3pPr>
            <a:lvl4pPr marL="614363" indent="-1555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/>
            </a:lvl4pPr>
            <a:lvl5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9pPr>
          </a:lstStyle>
          <a:p>
            <a:pPr eaLnBrk="0" hangingPunct="0"/>
            <a:r>
              <a:rPr lang="en-US" sz="2000" dirty="0">
                <a:cs typeface="Arial" pitchFamily="34" charset="0"/>
              </a:rPr>
              <a:t>2</a:t>
            </a:r>
          </a:p>
        </p:txBody>
      </p:sp>
      <p:sp>
        <p:nvSpPr>
          <p:cNvPr id="74" name="Oval 17"/>
          <p:cNvSpPr txBox="1">
            <a:spLocks noChangeArrowheads="1"/>
          </p:cNvSpPr>
          <p:nvPr/>
        </p:nvSpPr>
        <p:spPr bwMode="gray">
          <a:xfrm>
            <a:off x="5597372" y="3663086"/>
            <a:ext cx="387678" cy="387678"/>
          </a:xfrm>
          <a:prstGeom prst="ellipse">
            <a:avLst/>
          </a:prstGeom>
          <a:solidFill>
            <a:schemeClr val="accent1"/>
          </a:solidFill>
          <a:ln w="19050" algn="ctr">
            <a:noFill/>
            <a:round/>
            <a:headEnd/>
            <a:tailEnd/>
          </a:ln>
          <a:effectLst>
            <a:outerShdw blurRad="50800" dist="38100" dir="5400000" algn="t" rotWithShape="0">
              <a:srgbClr val="FFFFFF">
                <a:lumMod val="50000"/>
                <a:alpha val="40000"/>
              </a:srgbClr>
            </a:outerShdw>
          </a:effectLst>
          <a:extLst/>
        </p:spPr>
        <p:txBody>
          <a:bodyPr wrap="none" lIns="0" tIns="0" rIns="0" bIns="0" anchor="ctr" anchorCtr="1"/>
          <a:lstStyle>
            <a:defPPr>
              <a:defRPr lang="en-US"/>
            </a:defPPr>
            <a:lvl1pPr marR="0" lvl="0" indent="0" defTabSz="89535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1261C"/>
              </a:buClr>
              <a:buSzTx/>
              <a:buFontTx/>
              <a:buNone/>
              <a:tabLst/>
              <a:defRPr kumimoji="0" sz="14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defRPr>
            </a:lvl1pPr>
            <a:lvl2pPr marL="193675" indent="-192088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/>
            </a:lvl2pPr>
            <a:lvl3pPr marL="457200" indent="-261938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/>
            </a:lvl3pPr>
            <a:lvl4pPr marL="614363" indent="-1555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/>
            </a:lvl4pPr>
            <a:lvl5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9pPr>
          </a:lstStyle>
          <a:p>
            <a:pPr eaLnBrk="0" hangingPunct="0"/>
            <a:r>
              <a:rPr lang="en-US" sz="2000" dirty="0">
                <a:cs typeface="Arial" pitchFamily="34" charset="0"/>
              </a:rPr>
              <a:t>4</a:t>
            </a:r>
          </a:p>
        </p:txBody>
      </p:sp>
      <p:grpSp>
        <p:nvGrpSpPr>
          <p:cNvPr id="75" name="Group 74"/>
          <p:cNvGrpSpPr/>
          <p:nvPr/>
        </p:nvGrpSpPr>
        <p:grpSpPr>
          <a:xfrm>
            <a:off x="5448300" y="2046773"/>
            <a:ext cx="391709" cy="405051"/>
            <a:chOff x="4939928" y="3651114"/>
            <a:chExt cx="369564" cy="382150"/>
          </a:xfrm>
        </p:grpSpPr>
        <p:sp>
          <p:nvSpPr>
            <p:cNvPr id="76" name="Rounded Rectangle 75"/>
            <p:cNvSpPr/>
            <p:nvPr/>
          </p:nvSpPr>
          <p:spPr>
            <a:xfrm>
              <a:off x="4939928" y="3651114"/>
              <a:ext cx="369564" cy="382150"/>
            </a:xfrm>
            <a:prstGeom prst="roundRect">
              <a:avLst/>
            </a:prstGeom>
            <a:solidFill>
              <a:srgbClr val="FFFFFF">
                <a:alpha val="60000"/>
              </a:srgbClr>
            </a:solidFill>
            <a:ln w="12700"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 defTabSz="45720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707070"/>
                </a:solidFill>
              </a:endParaRPr>
            </a:p>
          </p:txBody>
        </p:sp>
        <p:pic>
          <p:nvPicPr>
            <p:cNvPr id="77" name="Picture 76"/>
            <p:cNvPicPr>
              <a:picLocks noChangeAspect="1"/>
            </p:cNvPicPr>
            <p:nvPr/>
          </p:nvPicPr>
          <p:blipFill>
            <a:blip r:embed="rId8">
              <a:duotone>
                <a:schemeClr val="accent3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5008682" y="3655484"/>
              <a:ext cx="247011" cy="340889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78" name="Group 77"/>
          <p:cNvGrpSpPr/>
          <p:nvPr/>
        </p:nvGrpSpPr>
        <p:grpSpPr>
          <a:xfrm>
            <a:off x="4564493" y="3627134"/>
            <a:ext cx="391709" cy="397094"/>
            <a:chOff x="4939928" y="3652327"/>
            <a:chExt cx="369564" cy="374643"/>
          </a:xfrm>
        </p:grpSpPr>
        <p:sp>
          <p:nvSpPr>
            <p:cNvPr id="79" name="Rounded Rectangle 78"/>
            <p:cNvSpPr/>
            <p:nvPr/>
          </p:nvSpPr>
          <p:spPr>
            <a:xfrm>
              <a:off x="4939928" y="3657406"/>
              <a:ext cx="369564" cy="369564"/>
            </a:xfrm>
            <a:prstGeom prst="roundRect">
              <a:avLst/>
            </a:prstGeom>
            <a:solidFill>
              <a:srgbClr val="FFFFFF">
                <a:alpha val="60000"/>
              </a:srgbClr>
            </a:solidFill>
            <a:ln w="12700"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45720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707070"/>
                </a:solidFill>
              </a:endParaRPr>
            </a:p>
          </p:txBody>
        </p:sp>
        <p:pic>
          <p:nvPicPr>
            <p:cNvPr id="80" name="Picture 79"/>
            <p:cNvPicPr>
              <a:picLocks noChangeAspect="1"/>
            </p:cNvPicPr>
            <p:nvPr/>
          </p:nvPicPr>
          <p:blipFill>
            <a:blip r:embed="rId8">
              <a:duotone>
                <a:schemeClr val="accent3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5007466" y="3652327"/>
              <a:ext cx="247011" cy="340889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81" name="Text Box 83"/>
          <p:cNvSpPr txBox="1">
            <a:spLocks noChangeArrowheads="1"/>
          </p:cNvSpPr>
          <p:nvPr/>
        </p:nvSpPr>
        <p:spPr bwMode="auto">
          <a:xfrm>
            <a:off x="9763191" y="3234474"/>
            <a:ext cx="1806103" cy="2215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defTabSz="4572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sz="1600" b="1" dirty="0">
                <a:solidFill>
                  <a:srgbClr val="EE3124"/>
                </a:solidFill>
                <a:ea typeface="ＭＳ Ｐゴシック" pitchFamily="34" charset="-128"/>
                <a:cs typeface="Arial" pitchFamily="34" charset="0"/>
              </a:rPr>
              <a:t>Expert Support</a:t>
            </a:r>
          </a:p>
        </p:txBody>
      </p:sp>
      <p:sp>
        <p:nvSpPr>
          <p:cNvPr id="82" name="Oval 17"/>
          <p:cNvSpPr txBox="1">
            <a:spLocks noChangeArrowheads="1"/>
          </p:cNvSpPr>
          <p:nvPr/>
        </p:nvSpPr>
        <p:spPr bwMode="gray">
          <a:xfrm>
            <a:off x="9493307" y="3114563"/>
            <a:ext cx="387678" cy="387678"/>
          </a:xfrm>
          <a:prstGeom prst="ellipse">
            <a:avLst/>
          </a:prstGeom>
          <a:solidFill>
            <a:schemeClr val="accent1"/>
          </a:solidFill>
          <a:ln w="19050" algn="ctr">
            <a:noFill/>
            <a:round/>
            <a:headEnd/>
            <a:tailEnd/>
          </a:ln>
          <a:effectLst>
            <a:outerShdw blurRad="50800" dist="38100" dir="5400000" algn="t" rotWithShape="0">
              <a:srgbClr val="FFFFFF">
                <a:lumMod val="50000"/>
                <a:alpha val="40000"/>
              </a:srgbClr>
            </a:outerShdw>
          </a:effectLst>
          <a:extLst/>
        </p:spPr>
        <p:txBody>
          <a:bodyPr wrap="none" lIns="0" tIns="0" rIns="0" bIns="0" anchor="ctr" anchorCtr="1"/>
          <a:lstStyle>
            <a:defPPr>
              <a:defRPr lang="en-US"/>
            </a:defPPr>
            <a:lvl1pPr marR="0" lvl="0" indent="0" defTabSz="89535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1261C"/>
              </a:buClr>
              <a:buSzTx/>
              <a:buFontTx/>
              <a:buNone/>
              <a:tabLst/>
              <a:defRPr kumimoji="0" sz="14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defRPr>
            </a:lvl1pPr>
            <a:lvl2pPr marL="193675" indent="-192088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/>
            </a:lvl2pPr>
            <a:lvl3pPr marL="457200" indent="-261938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/>
            </a:lvl3pPr>
            <a:lvl4pPr marL="614363" indent="-1555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/>
            </a:lvl4pPr>
            <a:lvl5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9pPr>
          </a:lstStyle>
          <a:p>
            <a:pPr eaLnBrk="0" hangingPunct="0"/>
            <a:r>
              <a:rPr lang="en-US" sz="2000" dirty="0">
                <a:cs typeface="Arial" pitchFamily="34" charset="0"/>
              </a:rPr>
              <a:t>3</a:t>
            </a:r>
          </a:p>
        </p:txBody>
      </p:sp>
      <p:pic>
        <p:nvPicPr>
          <p:cNvPr id="83" name="Picture 82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022724" y="3548049"/>
            <a:ext cx="568596" cy="611081"/>
          </a:xfrm>
          <a:prstGeom prst="rect">
            <a:avLst/>
          </a:prstGeom>
        </p:spPr>
      </p:pic>
      <p:pic>
        <p:nvPicPr>
          <p:cNvPr id="84" name="Picture 24" descr="Image result for database icon"/>
          <p:cNvPicPr>
            <a:picLocks noChangeAspect="1" noChangeArrowheads="1"/>
          </p:cNvPicPr>
          <p:nvPr/>
        </p:nvPicPr>
        <p:blipFill>
          <a:blip r:embed="rId10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9188" y="2490467"/>
            <a:ext cx="493636" cy="4936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85" name="Group 84"/>
          <p:cNvGrpSpPr/>
          <p:nvPr/>
        </p:nvGrpSpPr>
        <p:grpSpPr>
          <a:xfrm>
            <a:off x="721038" y="1725007"/>
            <a:ext cx="2418471" cy="3125827"/>
            <a:chOff x="1672833" y="2015583"/>
            <a:chExt cx="2184352" cy="2823232"/>
          </a:xfrm>
        </p:grpSpPr>
        <p:sp>
          <p:nvSpPr>
            <p:cNvPr id="86" name="Rounded Rectangle 85"/>
            <p:cNvSpPr/>
            <p:nvPr/>
          </p:nvSpPr>
          <p:spPr bwMode="auto">
            <a:xfrm>
              <a:off x="1827512" y="2527351"/>
              <a:ext cx="2029672" cy="2311464"/>
            </a:xfrm>
            <a:prstGeom prst="roundRect">
              <a:avLst>
                <a:gd name="adj" fmla="val 8195"/>
              </a:avLst>
            </a:prstGeom>
            <a:solidFill>
              <a:srgbClr val="FFFFFF">
                <a:alpha val="89804"/>
              </a:srgbClr>
            </a:solidFill>
            <a:ln w="12699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0488" tIns="44450" rIns="90488" bIns="44450" numCol="1" rtlCol="0" anchor="t" anchorCtr="0" compatLnSpc="1">
              <a:prstTxWarp prst="textNoShape">
                <a:avLst/>
              </a:prstTxWarp>
            </a:bodyPr>
            <a:lstStyle/>
            <a:p>
              <a:pPr defTabSz="457200" eaLnBrk="0" fontAlgn="base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5400" b="1" dirty="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87" name="Text Box 83"/>
            <p:cNvSpPr txBox="1">
              <a:spLocks noChangeArrowheads="1"/>
            </p:cNvSpPr>
            <p:nvPr/>
          </p:nvSpPr>
          <p:spPr bwMode="auto">
            <a:xfrm>
              <a:off x="1827512" y="2658561"/>
              <a:ext cx="2029673" cy="221599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algn="ctr" defTabSz="45720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kumimoji="1" lang="en-US" sz="1600" b="1" dirty="0">
                  <a:solidFill>
                    <a:srgbClr val="EE3124"/>
                  </a:solidFill>
                  <a:ea typeface="ＭＳ Ｐゴシック" pitchFamily="34" charset="-128"/>
                  <a:cs typeface="Arial" pitchFamily="34" charset="0"/>
                </a:rPr>
                <a:t>Customer Site</a:t>
              </a:r>
            </a:p>
          </p:txBody>
        </p:sp>
        <p:sp>
          <p:nvSpPr>
            <p:cNvPr id="88" name="Oval 17"/>
            <p:cNvSpPr txBox="1">
              <a:spLocks noChangeArrowheads="1"/>
            </p:cNvSpPr>
            <p:nvPr/>
          </p:nvSpPr>
          <p:spPr bwMode="gray">
            <a:xfrm>
              <a:off x="1672833" y="2464826"/>
              <a:ext cx="387678" cy="387678"/>
            </a:xfrm>
            <a:prstGeom prst="ellipse">
              <a:avLst/>
            </a:prstGeom>
            <a:solidFill>
              <a:schemeClr val="accent1"/>
            </a:solidFill>
            <a:ln w="19050" algn="ctr">
              <a:noFill/>
              <a:round/>
              <a:headEnd/>
              <a:tailEnd/>
            </a:ln>
            <a:effectLst>
              <a:outerShdw blurRad="50800" dist="38100" dir="5400000" algn="t" rotWithShape="0">
                <a:srgbClr val="FFFFFF">
                  <a:lumMod val="50000"/>
                  <a:alpha val="40000"/>
                </a:srgbClr>
              </a:outerShdw>
            </a:effectLst>
            <a:extLst/>
          </p:spPr>
          <p:txBody>
            <a:bodyPr wrap="none" lIns="0" tIns="0" rIns="0" bIns="0" anchor="ctr" anchorCtr="1"/>
            <a:lstStyle>
              <a:defPPr>
                <a:defRPr lang="en-US"/>
              </a:defPPr>
              <a:lvl1pPr marR="0" lvl="0" indent="0" defTabSz="895350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E1261C"/>
                </a:buClr>
                <a:buSzTx/>
                <a:buFontTx/>
                <a:buNone/>
                <a:tabLst/>
                <a:defRPr kumimoji="0" sz="1400" b="1" i="0" u="none" strike="noStrike" kern="0" cap="none" spc="0" normalizeH="0" baseline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</a:defRPr>
              </a:lvl1pPr>
              <a:lvl2pPr marL="193675" indent="-192088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/>
              </a:lvl2pPr>
              <a:lvl3pPr marL="457200" indent="-261938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/>
              </a:lvl3pPr>
              <a:lvl4pPr marL="614363" indent="-1555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/>
              </a:lvl4pPr>
              <a:lvl5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/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/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/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/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/>
              </a:lvl9pPr>
            </a:lstStyle>
            <a:p>
              <a:pPr eaLnBrk="0" hangingPunct="0"/>
              <a:r>
                <a:rPr lang="en-US" sz="2000" dirty="0">
                  <a:cs typeface="Arial" pitchFamily="34" charset="0"/>
                </a:rPr>
                <a:t>1</a:t>
              </a:r>
            </a:p>
          </p:txBody>
        </p:sp>
        <p:pic>
          <p:nvPicPr>
            <p:cNvPr id="89" name="Picture 88"/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2073031" y="2909787"/>
              <a:ext cx="1538635" cy="875787"/>
            </a:xfrm>
            <a:prstGeom prst="rect">
              <a:avLst/>
            </a:prstGeom>
          </p:spPr>
        </p:pic>
        <p:pic>
          <p:nvPicPr>
            <p:cNvPr id="90" name="Picture 89"/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1992040" y="3858881"/>
              <a:ext cx="1700617" cy="849385"/>
            </a:xfrm>
            <a:prstGeom prst="rect">
              <a:avLst/>
            </a:prstGeom>
          </p:spPr>
        </p:pic>
        <p:sp>
          <p:nvSpPr>
            <p:cNvPr id="91" name="Text Box 83"/>
            <p:cNvSpPr txBox="1">
              <a:spLocks noChangeArrowheads="1"/>
            </p:cNvSpPr>
            <p:nvPr/>
          </p:nvSpPr>
          <p:spPr bwMode="auto">
            <a:xfrm>
              <a:off x="2123466" y="2015583"/>
              <a:ext cx="1437765" cy="443198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 defTabSz="45720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kumimoji="1" lang="en-US" sz="1600" b="1" dirty="0">
                  <a:solidFill>
                    <a:srgbClr val="EE3124"/>
                  </a:solidFill>
                  <a:ea typeface="ＭＳ Ｐゴシック" pitchFamily="34" charset="-128"/>
                  <a:cs typeface="Arial" pitchFamily="34" charset="0"/>
                </a:rPr>
                <a:t>High Speed </a:t>
              </a:r>
            </a:p>
            <a:p>
              <a:pPr algn="ctr" defTabSz="45720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kumimoji="1" lang="en-US" sz="1600" b="1" dirty="0">
                  <a:solidFill>
                    <a:srgbClr val="EE3124"/>
                  </a:solidFill>
                  <a:ea typeface="ＭＳ Ｐゴシック" pitchFamily="34" charset="-128"/>
                  <a:cs typeface="Arial" pitchFamily="34" charset="0"/>
                </a:rPr>
                <a:t>Single Asset Model</a:t>
              </a:r>
            </a:p>
          </p:txBody>
        </p:sp>
      </p:grpSp>
      <p:pic>
        <p:nvPicPr>
          <p:cNvPr id="92" name="Picture 91"/>
          <p:cNvPicPr>
            <a:picLocks noChangeAspect="1"/>
          </p:cNvPicPr>
          <p:nvPr/>
        </p:nvPicPr>
        <p:blipFill>
          <a:blip r:embed="rId9">
            <a:duotone>
              <a:prstClr val="black"/>
              <a:schemeClr val="accent3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0160305" y="1525173"/>
            <a:ext cx="467839" cy="502795"/>
          </a:xfrm>
          <a:prstGeom prst="rect">
            <a:avLst/>
          </a:prstGeom>
        </p:spPr>
      </p:pic>
      <p:pic>
        <p:nvPicPr>
          <p:cNvPr id="93" name="Picture 7"/>
          <p:cNvPicPr>
            <a:picLocks noChangeAspect="1" noChangeArrowheads="1"/>
          </p:cNvPicPr>
          <p:nvPr/>
        </p:nvPicPr>
        <p:blipFill>
          <a:blip r:embed="rId13" cstate="screen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12332" y="1648002"/>
            <a:ext cx="1495509" cy="1252870"/>
          </a:xfrm>
          <a:prstGeom prst="rect">
            <a:avLst/>
          </a:prstGeom>
          <a:noFill/>
          <a:ln w="6350">
            <a:solidFill>
              <a:schemeClr val="accent3"/>
            </a:solidFill>
            <a:miter lim="800000"/>
            <a:headEnd type="none" w="sm" len="sm"/>
            <a:tailEnd type="none" w="sm" len="sm"/>
          </a:ln>
          <a:effectLst/>
        </p:spPr>
      </p:pic>
      <p:cxnSp>
        <p:nvCxnSpPr>
          <p:cNvPr id="94" name="Straight Arrow Connector 93"/>
          <p:cNvCxnSpPr/>
          <p:nvPr/>
        </p:nvCxnSpPr>
        <p:spPr>
          <a:xfrm flipH="1">
            <a:off x="3244935" y="4299984"/>
            <a:ext cx="2194560" cy="0"/>
          </a:xfrm>
          <a:prstGeom prst="straightConnector1">
            <a:avLst/>
          </a:prstGeom>
          <a:ln w="38100" cmpd="sng">
            <a:solidFill>
              <a:schemeClr val="accent5">
                <a:lumMod val="75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5" name="Straight Arrow Connector 94"/>
          <p:cNvCxnSpPr/>
          <p:nvPr/>
        </p:nvCxnSpPr>
        <p:spPr>
          <a:xfrm flipH="1">
            <a:off x="7031713" y="4299984"/>
            <a:ext cx="2971418" cy="0"/>
          </a:xfrm>
          <a:prstGeom prst="straightConnector1">
            <a:avLst/>
          </a:prstGeom>
          <a:ln w="38100" cmpd="sng">
            <a:solidFill>
              <a:schemeClr val="accent5">
                <a:lumMod val="75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6" name="Straight Connector 95"/>
          <p:cNvCxnSpPr/>
          <p:nvPr/>
        </p:nvCxnSpPr>
        <p:spPr>
          <a:xfrm>
            <a:off x="7589116" y="2960953"/>
            <a:ext cx="0" cy="914400"/>
          </a:xfrm>
          <a:prstGeom prst="line">
            <a:avLst/>
          </a:prstGeom>
          <a:ln w="38100" cmpd="sng">
            <a:solidFill>
              <a:schemeClr val="accent5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7" name="Freeform 96"/>
          <p:cNvSpPr/>
          <p:nvPr/>
        </p:nvSpPr>
        <p:spPr>
          <a:xfrm>
            <a:off x="10639494" y="1736663"/>
            <a:ext cx="1081429" cy="2007144"/>
          </a:xfrm>
          <a:custGeom>
            <a:avLst/>
            <a:gdLst>
              <a:gd name="connsiteX0" fmla="*/ 0 w 1259264"/>
              <a:gd name="connsiteY0" fmla="*/ 32218 h 2035189"/>
              <a:gd name="connsiteX1" fmla="*/ 685800 w 1259264"/>
              <a:gd name="connsiteY1" fmla="*/ 86647 h 2035189"/>
              <a:gd name="connsiteX2" fmla="*/ 1175657 w 1259264"/>
              <a:gd name="connsiteY2" fmla="*/ 772447 h 2035189"/>
              <a:gd name="connsiteX3" fmla="*/ 1219200 w 1259264"/>
              <a:gd name="connsiteY3" fmla="*/ 1686847 h 2035189"/>
              <a:gd name="connsiteX4" fmla="*/ 762000 w 1259264"/>
              <a:gd name="connsiteY4" fmla="*/ 2035189 h 2035189"/>
              <a:gd name="connsiteX0" fmla="*/ 0 w 1252398"/>
              <a:gd name="connsiteY0" fmla="*/ 6236 h 2009207"/>
              <a:gd name="connsiteX1" fmla="*/ 845820 w 1252398"/>
              <a:gd name="connsiteY1" fmla="*/ 209255 h 2009207"/>
              <a:gd name="connsiteX2" fmla="*/ 1175657 w 1252398"/>
              <a:gd name="connsiteY2" fmla="*/ 746465 h 2009207"/>
              <a:gd name="connsiteX3" fmla="*/ 1219200 w 1252398"/>
              <a:gd name="connsiteY3" fmla="*/ 1660865 h 2009207"/>
              <a:gd name="connsiteX4" fmla="*/ 762000 w 1252398"/>
              <a:gd name="connsiteY4" fmla="*/ 2009207 h 2009207"/>
              <a:gd name="connsiteX0" fmla="*/ 0 w 1230517"/>
              <a:gd name="connsiteY0" fmla="*/ 6236 h 2009207"/>
              <a:gd name="connsiteX1" fmla="*/ 845820 w 1230517"/>
              <a:gd name="connsiteY1" fmla="*/ 209255 h 2009207"/>
              <a:gd name="connsiteX2" fmla="*/ 1175657 w 1230517"/>
              <a:gd name="connsiteY2" fmla="*/ 746465 h 2009207"/>
              <a:gd name="connsiteX3" fmla="*/ 1188720 w 1230517"/>
              <a:gd name="connsiteY3" fmla="*/ 1573235 h 2009207"/>
              <a:gd name="connsiteX4" fmla="*/ 762000 w 1230517"/>
              <a:gd name="connsiteY4" fmla="*/ 2009207 h 2009207"/>
              <a:gd name="connsiteX0" fmla="*/ 0 w 1276071"/>
              <a:gd name="connsiteY0" fmla="*/ 7315 h 2010286"/>
              <a:gd name="connsiteX1" fmla="*/ 845820 w 1276071"/>
              <a:gd name="connsiteY1" fmla="*/ 210334 h 2010286"/>
              <a:gd name="connsiteX2" fmla="*/ 1248047 w 1276071"/>
              <a:gd name="connsiteY2" fmla="*/ 888514 h 2010286"/>
              <a:gd name="connsiteX3" fmla="*/ 1188720 w 1276071"/>
              <a:gd name="connsiteY3" fmla="*/ 1574314 h 2010286"/>
              <a:gd name="connsiteX4" fmla="*/ 762000 w 1276071"/>
              <a:gd name="connsiteY4" fmla="*/ 2010286 h 2010286"/>
              <a:gd name="connsiteX0" fmla="*/ 0 w 1259142"/>
              <a:gd name="connsiteY0" fmla="*/ 7315 h 2010286"/>
              <a:gd name="connsiteX1" fmla="*/ 845820 w 1259142"/>
              <a:gd name="connsiteY1" fmla="*/ 210334 h 2010286"/>
              <a:gd name="connsiteX2" fmla="*/ 1248047 w 1259142"/>
              <a:gd name="connsiteY2" fmla="*/ 888514 h 2010286"/>
              <a:gd name="connsiteX3" fmla="*/ 1188720 w 1259142"/>
              <a:gd name="connsiteY3" fmla="*/ 1574314 h 2010286"/>
              <a:gd name="connsiteX4" fmla="*/ 762000 w 1259142"/>
              <a:gd name="connsiteY4" fmla="*/ 2010286 h 2010286"/>
              <a:gd name="connsiteX0" fmla="*/ 0 w 1259142"/>
              <a:gd name="connsiteY0" fmla="*/ 6962 h 2009933"/>
              <a:gd name="connsiteX1" fmla="*/ 845820 w 1259142"/>
              <a:gd name="connsiteY1" fmla="*/ 209981 h 2009933"/>
              <a:gd name="connsiteX2" fmla="*/ 1248047 w 1259142"/>
              <a:gd name="connsiteY2" fmla="*/ 846251 h 2009933"/>
              <a:gd name="connsiteX3" fmla="*/ 1188720 w 1259142"/>
              <a:gd name="connsiteY3" fmla="*/ 1573961 h 2009933"/>
              <a:gd name="connsiteX4" fmla="*/ 762000 w 1259142"/>
              <a:gd name="connsiteY4" fmla="*/ 2009933 h 2009933"/>
              <a:gd name="connsiteX0" fmla="*/ 0 w 1285666"/>
              <a:gd name="connsiteY0" fmla="*/ 3272 h 2006243"/>
              <a:gd name="connsiteX1" fmla="*/ 716280 w 1285666"/>
              <a:gd name="connsiteY1" fmla="*/ 354881 h 2006243"/>
              <a:gd name="connsiteX2" fmla="*/ 1248047 w 1285666"/>
              <a:gd name="connsiteY2" fmla="*/ 842561 h 2006243"/>
              <a:gd name="connsiteX3" fmla="*/ 1188720 w 1285666"/>
              <a:gd name="connsiteY3" fmla="*/ 1570271 h 2006243"/>
              <a:gd name="connsiteX4" fmla="*/ 762000 w 1285666"/>
              <a:gd name="connsiteY4" fmla="*/ 2006243 h 2006243"/>
              <a:gd name="connsiteX0" fmla="*/ 0 w 1193679"/>
              <a:gd name="connsiteY0" fmla="*/ 3482 h 2006453"/>
              <a:gd name="connsiteX1" fmla="*/ 716280 w 1193679"/>
              <a:gd name="connsiteY1" fmla="*/ 355091 h 2006453"/>
              <a:gd name="connsiteX2" fmla="*/ 977537 w 1193679"/>
              <a:gd name="connsiteY2" fmla="*/ 945641 h 2006453"/>
              <a:gd name="connsiteX3" fmla="*/ 1188720 w 1193679"/>
              <a:gd name="connsiteY3" fmla="*/ 1570481 h 2006453"/>
              <a:gd name="connsiteX4" fmla="*/ 762000 w 1193679"/>
              <a:gd name="connsiteY4" fmla="*/ 2006453 h 2006453"/>
              <a:gd name="connsiteX0" fmla="*/ 0 w 1008280"/>
              <a:gd name="connsiteY0" fmla="*/ 3482 h 2006453"/>
              <a:gd name="connsiteX1" fmla="*/ 716280 w 1008280"/>
              <a:gd name="connsiteY1" fmla="*/ 355091 h 2006453"/>
              <a:gd name="connsiteX2" fmla="*/ 977537 w 1008280"/>
              <a:gd name="connsiteY2" fmla="*/ 945641 h 2006453"/>
              <a:gd name="connsiteX3" fmla="*/ 979170 w 1008280"/>
              <a:gd name="connsiteY3" fmla="*/ 1540001 h 2006453"/>
              <a:gd name="connsiteX4" fmla="*/ 762000 w 1008280"/>
              <a:gd name="connsiteY4" fmla="*/ 2006453 h 2006453"/>
              <a:gd name="connsiteX0" fmla="*/ 0 w 1037132"/>
              <a:gd name="connsiteY0" fmla="*/ 3482 h 2006453"/>
              <a:gd name="connsiteX1" fmla="*/ 716280 w 1037132"/>
              <a:gd name="connsiteY1" fmla="*/ 355091 h 2006453"/>
              <a:gd name="connsiteX2" fmla="*/ 977537 w 1037132"/>
              <a:gd name="connsiteY2" fmla="*/ 945641 h 2006453"/>
              <a:gd name="connsiteX3" fmla="*/ 1021080 w 1037132"/>
              <a:gd name="connsiteY3" fmla="*/ 1555241 h 2006453"/>
              <a:gd name="connsiteX4" fmla="*/ 762000 w 1037132"/>
              <a:gd name="connsiteY4" fmla="*/ 2006453 h 2006453"/>
              <a:gd name="connsiteX0" fmla="*/ 0 w 1057680"/>
              <a:gd name="connsiteY0" fmla="*/ 3450 h 2006421"/>
              <a:gd name="connsiteX1" fmla="*/ 716280 w 1057680"/>
              <a:gd name="connsiteY1" fmla="*/ 355059 h 2006421"/>
              <a:gd name="connsiteX2" fmla="*/ 1023257 w 1057680"/>
              <a:gd name="connsiteY2" fmla="*/ 930369 h 2006421"/>
              <a:gd name="connsiteX3" fmla="*/ 1021080 w 1057680"/>
              <a:gd name="connsiteY3" fmla="*/ 1555209 h 2006421"/>
              <a:gd name="connsiteX4" fmla="*/ 762000 w 1057680"/>
              <a:gd name="connsiteY4" fmla="*/ 2006421 h 2006421"/>
              <a:gd name="connsiteX0" fmla="*/ 0 w 1058184"/>
              <a:gd name="connsiteY0" fmla="*/ 3966 h 2006937"/>
              <a:gd name="connsiteX1" fmla="*/ 708660 w 1058184"/>
              <a:gd name="connsiteY1" fmla="*/ 321285 h 2006937"/>
              <a:gd name="connsiteX2" fmla="*/ 1023257 w 1058184"/>
              <a:gd name="connsiteY2" fmla="*/ 930885 h 2006937"/>
              <a:gd name="connsiteX3" fmla="*/ 1021080 w 1058184"/>
              <a:gd name="connsiteY3" fmla="*/ 1555725 h 2006937"/>
              <a:gd name="connsiteX4" fmla="*/ 762000 w 1058184"/>
              <a:gd name="connsiteY4" fmla="*/ 2006937 h 2006937"/>
              <a:gd name="connsiteX0" fmla="*/ 0 w 1062310"/>
              <a:gd name="connsiteY0" fmla="*/ 3966 h 2006937"/>
              <a:gd name="connsiteX1" fmla="*/ 708660 w 1062310"/>
              <a:gd name="connsiteY1" fmla="*/ 321285 h 2006937"/>
              <a:gd name="connsiteX2" fmla="*/ 1023257 w 1062310"/>
              <a:gd name="connsiteY2" fmla="*/ 930885 h 2006937"/>
              <a:gd name="connsiteX3" fmla="*/ 1028700 w 1062310"/>
              <a:gd name="connsiteY3" fmla="*/ 1555725 h 2006937"/>
              <a:gd name="connsiteX4" fmla="*/ 762000 w 1062310"/>
              <a:gd name="connsiteY4" fmla="*/ 2006937 h 2006937"/>
              <a:gd name="connsiteX0" fmla="*/ 0 w 1054306"/>
              <a:gd name="connsiteY0" fmla="*/ 3966 h 2006937"/>
              <a:gd name="connsiteX1" fmla="*/ 708660 w 1054306"/>
              <a:gd name="connsiteY1" fmla="*/ 321285 h 2006937"/>
              <a:gd name="connsiteX2" fmla="*/ 1023257 w 1054306"/>
              <a:gd name="connsiteY2" fmla="*/ 930885 h 2006937"/>
              <a:gd name="connsiteX3" fmla="*/ 1028700 w 1054306"/>
              <a:gd name="connsiteY3" fmla="*/ 1555725 h 2006937"/>
              <a:gd name="connsiteX4" fmla="*/ 762000 w 1054306"/>
              <a:gd name="connsiteY4" fmla="*/ 2006937 h 2006937"/>
              <a:gd name="connsiteX0" fmla="*/ 0 w 1065235"/>
              <a:gd name="connsiteY0" fmla="*/ 3966 h 2006937"/>
              <a:gd name="connsiteX1" fmla="*/ 708660 w 1065235"/>
              <a:gd name="connsiteY1" fmla="*/ 321285 h 2006937"/>
              <a:gd name="connsiteX2" fmla="*/ 1023257 w 1065235"/>
              <a:gd name="connsiteY2" fmla="*/ 930885 h 2006937"/>
              <a:gd name="connsiteX3" fmla="*/ 1028700 w 1065235"/>
              <a:gd name="connsiteY3" fmla="*/ 1555725 h 2006937"/>
              <a:gd name="connsiteX4" fmla="*/ 762000 w 1065235"/>
              <a:gd name="connsiteY4" fmla="*/ 2006937 h 2006937"/>
              <a:gd name="connsiteX0" fmla="*/ 0 w 1060888"/>
              <a:gd name="connsiteY0" fmla="*/ 3966 h 2006937"/>
              <a:gd name="connsiteX1" fmla="*/ 708660 w 1060888"/>
              <a:gd name="connsiteY1" fmla="*/ 321285 h 2006937"/>
              <a:gd name="connsiteX2" fmla="*/ 1023257 w 1060888"/>
              <a:gd name="connsiteY2" fmla="*/ 930885 h 2006937"/>
              <a:gd name="connsiteX3" fmla="*/ 1028700 w 1060888"/>
              <a:gd name="connsiteY3" fmla="*/ 1555725 h 2006937"/>
              <a:gd name="connsiteX4" fmla="*/ 762000 w 1060888"/>
              <a:gd name="connsiteY4" fmla="*/ 2006937 h 2006937"/>
              <a:gd name="connsiteX0" fmla="*/ 0 w 1072607"/>
              <a:gd name="connsiteY0" fmla="*/ 3966 h 2006937"/>
              <a:gd name="connsiteX1" fmla="*/ 708660 w 1072607"/>
              <a:gd name="connsiteY1" fmla="*/ 321285 h 2006937"/>
              <a:gd name="connsiteX2" fmla="*/ 1023257 w 1072607"/>
              <a:gd name="connsiteY2" fmla="*/ 930885 h 2006937"/>
              <a:gd name="connsiteX3" fmla="*/ 1047750 w 1072607"/>
              <a:gd name="connsiteY3" fmla="*/ 1567155 h 2006937"/>
              <a:gd name="connsiteX4" fmla="*/ 762000 w 1072607"/>
              <a:gd name="connsiteY4" fmla="*/ 2006937 h 2006937"/>
              <a:gd name="connsiteX0" fmla="*/ 0 w 1072415"/>
              <a:gd name="connsiteY0" fmla="*/ 4173 h 2007144"/>
              <a:gd name="connsiteX1" fmla="*/ 712470 w 1072415"/>
              <a:gd name="connsiteY1" fmla="*/ 310062 h 2007144"/>
              <a:gd name="connsiteX2" fmla="*/ 1023257 w 1072415"/>
              <a:gd name="connsiteY2" fmla="*/ 931092 h 2007144"/>
              <a:gd name="connsiteX3" fmla="*/ 1047750 w 1072415"/>
              <a:gd name="connsiteY3" fmla="*/ 1567362 h 2007144"/>
              <a:gd name="connsiteX4" fmla="*/ 762000 w 1072415"/>
              <a:gd name="connsiteY4" fmla="*/ 2007144 h 2007144"/>
              <a:gd name="connsiteX0" fmla="*/ 0 w 1081429"/>
              <a:gd name="connsiteY0" fmla="*/ 4173 h 2007144"/>
              <a:gd name="connsiteX1" fmla="*/ 712470 w 1081429"/>
              <a:gd name="connsiteY1" fmla="*/ 310062 h 2007144"/>
              <a:gd name="connsiteX2" fmla="*/ 1038497 w 1081429"/>
              <a:gd name="connsiteY2" fmla="*/ 931092 h 2007144"/>
              <a:gd name="connsiteX3" fmla="*/ 1047750 w 1081429"/>
              <a:gd name="connsiteY3" fmla="*/ 1567362 h 2007144"/>
              <a:gd name="connsiteX4" fmla="*/ 762000 w 1081429"/>
              <a:gd name="connsiteY4" fmla="*/ 2007144 h 20071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81429" h="2007144">
                <a:moveTo>
                  <a:pt x="0" y="4173"/>
                </a:moveTo>
                <a:cubicBezTo>
                  <a:pt x="244928" y="-30298"/>
                  <a:pt x="539387" y="155575"/>
                  <a:pt x="712470" y="310062"/>
                </a:cubicBezTo>
                <a:cubicBezTo>
                  <a:pt x="885553" y="464549"/>
                  <a:pt x="982617" y="721542"/>
                  <a:pt x="1038497" y="931092"/>
                </a:cubicBezTo>
                <a:cubicBezTo>
                  <a:pt x="1094377" y="1140642"/>
                  <a:pt x="1093833" y="1388020"/>
                  <a:pt x="1047750" y="1567362"/>
                </a:cubicBezTo>
                <a:cubicBezTo>
                  <a:pt x="1001667" y="1746704"/>
                  <a:pt x="956128" y="1938201"/>
                  <a:pt x="762000" y="2007144"/>
                </a:cubicBezTo>
              </a:path>
            </a:pathLst>
          </a:custGeom>
          <a:noFill/>
          <a:ln w="38100">
            <a:headEnd type="triangle" w="med" len="med"/>
            <a:tailEnd type="triangl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20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98" name="Freeform 97"/>
          <p:cNvSpPr/>
          <p:nvPr/>
        </p:nvSpPr>
        <p:spPr>
          <a:xfrm rot="11720206">
            <a:off x="9243475" y="1928144"/>
            <a:ext cx="1275021" cy="2009933"/>
          </a:xfrm>
          <a:custGeom>
            <a:avLst/>
            <a:gdLst>
              <a:gd name="connsiteX0" fmla="*/ 0 w 1259264"/>
              <a:gd name="connsiteY0" fmla="*/ 32218 h 2035189"/>
              <a:gd name="connsiteX1" fmla="*/ 685800 w 1259264"/>
              <a:gd name="connsiteY1" fmla="*/ 86647 h 2035189"/>
              <a:gd name="connsiteX2" fmla="*/ 1175657 w 1259264"/>
              <a:gd name="connsiteY2" fmla="*/ 772447 h 2035189"/>
              <a:gd name="connsiteX3" fmla="*/ 1219200 w 1259264"/>
              <a:gd name="connsiteY3" fmla="*/ 1686847 h 2035189"/>
              <a:gd name="connsiteX4" fmla="*/ 762000 w 1259264"/>
              <a:gd name="connsiteY4" fmla="*/ 2035189 h 2035189"/>
              <a:gd name="connsiteX0" fmla="*/ 0 w 1252398"/>
              <a:gd name="connsiteY0" fmla="*/ 6236 h 2009207"/>
              <a:gd name="connsiteX1" fmla="*/ 845820 w 1252398"/>
              <a:gd name="connsiteY1" fmla="*/ 209255 h 2009207"/>
              <a:gd name="connsiteX2" fmla="*/ 1175657 w 1252398"/>
              <a:gd name="connsiteY2" fmla="*/ 746465 h 2009207"/>
              <a:gd name="connsiteX3" fmla="*/ 1219200 w 1252398"/>
              <a:gd name="connsiteY3" fmla="*/ 1660865 h 2009207"/>
              <a:gd name="connsiteX4" fmla="*/ 762000 w 1252398"/>
              <a:gd name="connsiteY4" fmla="*/ 2009207 h 2009207"/>
              <a:gd name="connsiteX0" fmla="*/ 0 w 1230517"/>
              <a:gd name="connsiteY0" fmla="*/ 6236 h 2009207"/>
              <a:gd name="connsiteX1" fmla="*/ 845820 w 1230517"/>
              <a:gd name="connsiteY1" fmla="*/ 209255 h 2009207"/>
              <a:gd name="connsiteX2" fmla="*/ 1175657 w 1230517"/>
              <a:gd name="connsiteY2" fmla="*/ 746465 h 2009207"/>
              <a:gd name="connsiteX3" fmla="*/ 1188720 w 1230517"/>
              <a:gd name="connsiteY3" fmla="*/ 1573235 h 2009207"/>
              <a:gd name="connsiteX4" fmla="*/ 762000 w 1230517"/>
              <a:gd name="connsiteY4" fmla="*/ 2009207 h 2009207"/>
              <a:gd name="connsiteX0" fmla="*/ 0 w 1276071"/>
              <a:gd name="connsiteY0" fmla="*/ 7315 h 2010286"/>
              <a:gd name="connsiteX1" fmla="*/ 845820 w 1276071"/>
              <a:gd name="connsiteY1" fmla="*/ 210334 h 2010286"/>
              <a:gd name="connsiteX2" fmla="*/ 1248047 w 1276071"/>
              <a:gd name="connsiteY2" fmla="*/ 888514 h 2010286"/>
              <a:gd name="connsiteX3" fmla="*/ 1188720 w 1276071"/>
              <a:gd name="connsiteY3" fmla="*/ 1574314 h 2010286"/>
              <a:gd name="connsiteX4" fmla="*/ 762000 w 1276071"/>
              <a:gd name="connsiteY4" fmla="*/ 2010286 h 2010286"/>
              <a:gd name="connsiteX0" fmla="*/ 0 w 1259142"/>
              <a:gd name="connsiteY0" fmla="*/ 7315 h 2010286"/>
              <a:gd name="connsiteX1" fmla="*/ 845820 w 1259142"/>
              <a:gd name="connsiteY1" fmla="*/ 210334 h 2010286"/>
              <a:gd name="connsiteX2" fmla="*/ 1248047 w 1259142"/>
              <a:gd name="connsiteY2" fmla="*/ 888514 h 2010286"/>
              <a:gd name="connsiteX3" fmla="*/ 1188720 w 1259142"/>
              <a:gd name="connsiteY3" fmla="*/ 1574314 h 2010286"/>
              <a:gd name="connsiteX4" fmla="*/ 762000 w 1259142"/>
              <a:gd name="connsiteY4" fmla="*/ 2010286 h 2010286"/>
              <a:gd name="connsiteX0" fmla="*/ 0 w 1259142"/>
              <a:gd name="connsiteY0" fmla="*/ 6962 h 2009933"/>
              <a:gd name="connsiteX1" fmla="*/ 845820 w 1259142"/>
              <a:gd name="connsiteY1" fmla="*/ 209981 h 2009933"/>
              <a:gd name="connsiteX2" fmla="*/ 1248047 w 1259142"/>
              <a:gd name="connsiteY2" fmla="*/ 846251 h 2009933"/>
              <a:gd name="connsiteX3" fmla="*/ 1188720 w 1259142"/>
              <a:gd name="connsiteY3" fmla="*/ 1573961 h 2009933"/>
              <a:gd name="connsiteX4" fmla="*/ 762000 w 1259142"/>
              <a:gd name="connsiteY4" fmla="*/ 2009933 h 2009933"/>
              <a:gd name="connsiteX0" fmla="*/ 0 w 1275021"/>
              <a:gd name="connsiteY0" fmla="*/ 6962 h 2009933"/>
              <a:gd name="connsiteX1" fmla="*/ 845820 w 1275021"/>
              <a:gd name="connsiteY1" fmla="*/ 209981 h 2009933"/>
              <a:gd name="connsiteX2" fmla="*/ 1248047 w 1275021"/>
              <a:gd name="connsiteY2" fmla="*/ 846251 h 2009933"/>
              <a:gd name="connsiteX3" fmla="*/ 1188720 w 1275021"/>
              <a:gd name="connsiteY3" fmla="*/ 1573961 h 2009933"/>
              <a:gd name="connsiteX4" fmla="*/ 762000 w 1275021"/>
              <a:gd name="connsiteY4" fmla="*/ 2009933 h 20099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75021" h="2009933">
                <a:moveTo>
                  <a:pt x="0" y="6962"/>
                </a:moveTo>
                <a:cubicBezTo>
                  <a:pt x="244928" y="-27509"/>
                  <a:pt x="637812" y="70100"/>
                  <a:pt x="845820" y="209981"/>
                </a:cubicBezTo>
                <a:cubicBezTo>
                  <a:pt x="1053828" y="349862"/>
                  <a:pt x="1193261" y="628862"/>
                  <a:pt x="1248047" y="846251"/>
                </a:cubicBezTo>
                <a:cubicBezTo>
                  <a:pt x="1302833" y="1063640"/>
                  <a:pt x="1269728" y="1380014"/>
                  <a:pt x="1188720" y="1573961"/>
                </a:cubicBezTo>
                <a:cubicBezTo>
                  <a:pt x="1107712" y="1767908"/>
                  <a:pt x="956128" y="1940990"/>
                  <a:pt x="762000" y="2009933"/>
                </a:cubicBezTo>
              </a:path>
            </a:pathLst>
          </a:custGeom>
          <a:noFill/>
          <a:ln w="38100">
            <a:headEnd type="triangle" w="med" len="med"/>
            <a:tailEnd type="triangl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45720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pic>
        <p:nvPicPr>
          <p:cNvPr id="129" name="Picture 2"/>
          <p:cNvPicPr>
            <a:picLocks noChangeAspect="1" noChangeArrowheads="1"/>
          </p:cNvPicPr>
          <p:nvPr/>
        </p:nvPicPr>
        <p:blipFill>
          <a:blip r:embed="rId14"/>
          <a:stretch>
            <a:fillRect/>
          </a:stretch>
        </p:blipFill>
        <p:spPr bwMode="auto">
          <a:xfrm>
            <a:off x="9910746" y="4468576"/>
            <a:ext cx="1391652" cy="53683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0" name="Title 1"/>
          <p:cNvSpPr txBox="1">
            <a:spLocks/>
          </p:cNvSpPr>
          <p:nvPr/>
        </p:nvSpPr>
        <p:spPr>
          <a:xfrm>
            <a:off x="721038" y="118568"/>
            <a:ext cx="10509250" cy="498475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lang="en-US" sz="2800" b="1" kern="1200" dirty="0">
                <a:solidFill>
                  <a:schemeClr val="tx1"/>
                </a:solidFill>
                <a:latin typeface="Arial" pitchFamily="34" charset="0"/>
                <a:ea typeface="Arial" charset="0"/>
                <a:cs typeface="Arial" pitchFamily="34" charset="0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en-US" dirty="0" smtClean="0"/>
              <a:t>Connected Performance Services</a:t>
            </a:r>
            <a:endParaRPr lang="en-US" dirty="0"/>
          </a:p>
        </p:txBody>
      </p:sp>
      <p:sp>
        <p:nvSpPr>
          <p:cNvPr id="131" name="TextBox 130"/>
          <p:cNvSpPr txBox="1"/>
          <p:nvPr/>
        </p:nvSpPr>
        <p:spPr>
          <a:xfrm>
            <a:off x="5574383" y="689052"/>
            <a:ext cx="6366605" cy="5109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  <a:tabLst>
                <a:tab pos="2690813" algn="l"/>
              </a:tabLst>
              <a:defRPr/>
            </a:pPr>
            <a:r>
              <a:rPr lang="en-US" b="1" kern="0" dirty="0">
                <a:solidFill>
                  <a:srgbClr val="000000"/>
                </a:solidFill>
                <a:latin typeface="Honeywell Sans" panose="02010503040101060203" pitchFamily="50" charset="0"/>
                <a:cs typeface="Arial" pitchFamily="34" charset="0"/>
              </a:rPr>
              <a:t>Enterprise Intelligence:  </a:t>
            </a:r>
            <a:r>
              <a:rPr lang="en-US" sz="1600" kern="0" dirty="0" smtClean="0">
                <a:solidFill>
                  <a:srgbClr val="000000"/>
                </a:solidFill>
                <a:latin typeface="Honeywell Sans" panose="02010503040101060203" pitchFamily="50" charset="0"/>
                <a:cs typeface="Arial" pitchFamily="34" charset="0"/>
              </a:rPr>
              <a:t>Applying powerful analytics for early detection and forecast of failure and to optimize </a:t>
            </a:r>
            <a:r>
              <a:rPr lang="en-US" sz="1600" kern="0" dirty="0" smtClean="0">
                <a:solidFill>
                  <a:srgbClr val="000000"/>
                </a:solidFill>
                <a:latin typeface="Honeywell Sans" panose="02010503040101060203" pitchFamily="50" charset="0"/>
                <a:cs typeface="Arial" pitchFamily="34" charset="0"/>
              </a:rPr>
              <a:t>process modes</a:t>
            </a:r>
            <a:endParaRPr lang="en-US" sz="1600" kern="0" dirty="0">
              <a:solidFill>
                <a:srgbClr val="000000"/>
              </a:solidFill>
              <a:latin typeface="Honeywell Sans" panose="02010503040101060203" pitchFamily="50" charset="0"/>
              <a:cs typeface="Arial" pitchFamily="34" charset="0"/>
            </a:endParaRPr>
          </a:p>
        </p:txBody>
      </p:sp>
      <p:sp>
        <p:nvSpPr>
          <p:cNvPr id="48" name="Text Box 83"/>
          <p:cNvSpPr txBox="1">
            <a:spLocks noChangeArrowheads="1"/>
          </p:cNvSpPr>
          <p:nvPr/>
        </p:nvSpPr>
        <p:spPr bwMode="auto">
          <a:xfrm>
            <a:off x="7714825" y="3050076"/>
            <a:ext cx="1367362" cy="44319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defTabSz="4572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sz="1600" dirty="0" smtClean="0">
                <a:solidFill>
                  <a:srgbClr val="707070">
                    <a:lumMod val="75000"/>
                  </a:srgbClr>
                </a:solidFill>
                <a:ea typeface="ＭＳ Ｐゴシック" pitchFamily="34" charset="-128"/>
                <a:cs typeface="Arial" pitchFamily="34" charset="0"/>
              </a:rPr>
              <a:t>200 embedded</a:t>
            </a:r>
            <a:endParaRPr kumimoji="1" lang="en-US" sz="1600" dirty="0">
              <a:solidFill>
                <a:srgbClr val="707070">
                  <a:lumMod val="75000"/>
                </a:srgbClr>
              </a:solidFill>
              <a:ea typeface="ＭＳ Ｐゴシック" pitchFamily="34" charset="-128"/>
              <a:cs typeface="Arial" pitchFamily="34" charset="0"/>
            </a:endParaRPr>
          </a:p>
          <a:p>
            <a:pPr algn="ctr" defTabSz="4572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sz="1600" dirty="0" smtClean="0">
                <a:solidFill>
                  <a:srgbClr val="707070">
                    <a:lumMod val="75000"/>
                  </a:srgbClr>
                </a:solidFill>
                <a:ea typeface="ＭＳ Ｐゴシック" pitchFamily="34" charset="-128"/>
                <a:cs typeface="Arial" pitchFamily="34" charset="0"/>
              </a:rPr>
              <a:t>KPI</a:t>
            </a:r>
            <a:endParaRPr kumimoji="1" lang="en-US" sz="1600" dirty="0">
              <a:solidFill>
                <a:srgbClr val="707070">
                  <a:lumMod val="75000"/>
                </a:srgbClr>
              </a:solidFill>
              <a:ea typeface="ＭＳ Ｐゴシック" pitchFamily="34" charset="-128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5518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9937" name="Group 13"/>
          <p:cNvGrpSpPr>
            <a:grpSpLocks/>
          </p:cNvGrpSpPr>
          <p:nvPr/>
        </p:nvGrpSpPr>
        <p:grpSpPr bwMode="auto">
          <a:xfrm>
            <a:off x="4714876" y="2814630"/>
            <a:ext cx="5953125" cy="1179512"/>
            <a:chOff x="4267919" y="2580565"/>
            <a:chExt cx="4876080" cy="1286585"/>
          </a:xfrm>
        </p:grpSpPr>
        <p:sp>
          <p:nvSpPr>
            <p:cNvPr id="15" name="Rectangle 14"/>
            <p:cNvSpPr/>
            <p:nvPr/>
          </p:nvSpPr>
          <p:spPr bwMode="auto">
            <a:xfrm>
              <a:off x="4267919" y="2580565"/>
              <a:ext cx="4876080" cy="1286585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defTabSz="914400">
                <a:lnSpc>
                  <a:spcPct val="90000"/>
                </a:lnSpc>
                <a:defRPr/>
              </a:pPr>
              <a:endParaRPr lang="en-US" sz="1200" b="1"/>
            </a:p>
          </p:txBody>
        </p:sp>
        <p:sp>
          <p:nvSpPr>
            <p:cNvPr id="39955" name="Pentagon 15"/>
            <p:cNvSpPr>
              <a:spLocks noChangeArrowheads="1"/>
            </p:cNvSpPr>
            <p:nvPr/>
          </p:nvSpPr>
          <p:spPr bwMode="auto">
            <a:xfrm>
              <a:off x="4276761" y="2580565"/>
              <a:ext cx="1647825" cy="1286585"/>
            </a:xfrm>
            <a:prstGeom prst="homePlate">
              <a:avLst>
                <a:gd name="adj" fmla="val 49998"/>
              </a:avLst>
            </a:prstGeom>
            <a:solidFill>
              <a:srgbClr val="006600"/>
            </a:solidFill>
            <a:ln w="9525" algn="ctr">
              <a:noFill/>
              <a:round/>
              <a:headEnd/>
              <a:tailEnd/>
            </a:ln>
          </p:spPr>
          <p:txBody>
            <a:bodyPr lIns="182880" tIns="0" rIns="0" bIns="0" anchor="ctr"/>
            <a:lstStyle/>
            <a:p>
              <a:pPr defTabSz="914400">
                <a:lnSpc>
                  <a:spcPct val="90000"/>
                </a:lnSpc>
              </a:pPr>
              <a:r>
                <a:rPr lang="en-US" sz="1600" b="1" dirty="0" smtClean="0">
                  <a:solidFill>
                    <a:schemeClr val="bg1"/>
                  </a:solidFill>
                </a:rPr>
                <a:t>Prompt response</a:t>
              </a:r>
              <a:endParaRPr lang="en-US" sz="16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9938" name="Group 12"/>
          <p:cNvGrpSpPr>
            <a:grpSpLocks/>
          </p:cNvGrpSpPr>
          <p:nvPr/>
        </p:nvGrpSpPr>
        <p:grpSpPr bwMode="auto">
          <a:xfrm>
            <a:off x="4714876" y="1543043"/>
            <a:ext cx="5953125" cy="1182687"/>
            <a:chOff x="4275443" y="2580565"/>
            <a:chExt cx="4870730" cy="1286585"/>
          </a:xfrm>
        </p:grpSpPr>
        <p:sp>
          <p:nvSpPr>
            <p:cNvPr id="12" name="Rectangle 11"/>
            <p:cNvSpPr/>
            <p:nvPr/>
          </p:nvSpPr>
          <p:spPr bwMode="auto">
            <a:xfrm>
              <a:off x="4275443" y="2580565"/>
              <a:ext cx="4870730" cy="1286585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defTabSz="914400">
                <a:lnSpc>
                  <a:spcPct val="90000"/>
                </a:lnSpc>
                <a:defRPr/>
              </a:pPr>
              <a:endParaRPr lang="en-US" sz="1200" b="1"/>
            </a:p>
          </p:txBody>
        </p:sp>
        <p:sp>
          <p:nvSpPr>
            <p:cNvPr id="11" name="Pentagon 10"/>
            <p:cNvSpPr/>
            <p:nvPr/>
          </p:nvSpPr>
          <p:spPr bwMode="auto">
            <a:xfrm>
              <a:off x="4284085" y="2580565"/>
              <a:ext cx="1646106" cy="1286585"/>
            </a:xfrm>
            <a:prstGeom prst="homePlate">
              <a:avLst/>
            </a:prstGeom>
            <a:solidFill>
              <a:schemeClr val="accent6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82880" tIns="0" rIns="0" bIns="0" anchor="ctr"/>
            <a:lstStyle/>
            <a:p>
              <a:pPr defTabSz="914400">
                <a:lnSpc>
                  <a:spcPct val="90000"/>
                </a:lnSpc>
                <a:defRPr/>
              </a:pPr>
              <a:r>
                <a:rPr lang="en-US" sz="1600" b="1" dirty="0" smtClean="0">
                  <a:solidFill>
                    <a:schemeClr val="bg1"/>
                  </a:solidFill>
                </a:rPr>
                <a:t>Operations excellence</a:t>
              </a:r>
              <a:endParaRPr lang="en-US" sz="16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8906" y="357189"/>
            <a:ext cx="9742395" cy="498475"/>
          </a:xfrm>
        </p:spPr>
        <p:txBody>
          <a:bodyPr/>
          <a:lstStyle/>
          <a:p>
            <a:r>
              <a:rPr lang="en-US" sz="2400" dirty="0" smtClean="0">
                <a:latin typeface="Arial" charset="0"/>
                <a:cs typeface="Arial" charset="0"/>
              </a:rPr>
              <a:t>Economic Benefits</a:t>
            </a:r>
            <a:r>
              <a:rPr dirty="0" smtClean="0">
                <a:latin typeface="Arial" charset="0"/>
                <a:cs typeface="Arial" charset="0"/>
              </a:rPr>
              <a:t/>
            </a:r>
            <a:br>
              <a:rPr dirty="0" smtClean="0">
                <a:latin typeface="Arial" charset="0"/>
                <a:cs typeface="Arial" charset="0"/>
              </a:rPr>
            </a:br>
            <a:r>
              <a:rPr lang="en-US" sz="2000" i="1" dirty="0" smtClean="0">
                <a:solidFill>
                  <a:srgbClr val="1792E5"/>
                </a:solidFill>
                <a:latin typeface="Arial" charset="0"/>
                <a:cs typeface="Arial" charset="0"/>
              </a:rPr>
              <a:t>at UOP </a:t>
            </a:r>
            <a:r>
              <a:rPr sz="2000" i="1" dirty="0" err="1" smtClean="0">
                <a:solidFill>
                  <a:srgbClr val="1792E5"/>
                </a:solidFill>
                <a:latin typeface="Arial" charset="0"/>
                <a:cs typeface="Arial" charset="0"/>
              </a:rPr>
              <a:t>Oleflex</a:t>
            </a:r>
            <a:r>
              <a:rPr sz="2000" i="1" dirty="0" smtClean="0">
                <a:solidFill>
                  <a:srgbClr val="1792E5"/>
                </a:solidFill>
                <a:latin typeface="Arial" charset="0"/>
                <a:cs typeface="Arial" charset="0"/>
              </a:rPr>
              <a:t> process</a:t>
            </a:r>
            <a:endParaRPr sz="2000" i="1" dirty="0">
              <a:solidFill>
                <a:srgbClr val="1792E5"/>
              </a:solidFill>
              <a:latin typeface="Arial" charset="0"/>
              <a:cs typeface="Arial" charset="0"/>
            </a:endParaRPr>
          </a:p>
        </p:txBody>
      </p:sp>
      <p:sp>
        <p:nvSpPr>
          <p:cNvPr id="39940" name="Rectangle 2"/>
          <p:cNvSpPr>
            <a:spLocks noChangeArrowheads="1"/>
          </p:cNvSpPr>
          <p:nvPr/>
        </p:nvSpPr>
        <p:spPr bwMode="auto">
          <a:xfrm>
            <a:off x="563180" y="5280820"/>
            <a:ext cx="5522912" cy="7899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en-US" sz="1400" b="1" dirty="0" smtClean="0">
                <a:ea typeface="SimSun" pitchFamily="2" charset="-122"/>
              </a:rPr>
              <a:t>Based on: </a:t>
            </a:r>
            <a:endParaRPr lang="en-US" sz="1400" b="1" dirty="0">
              <a:ea typeface="SimSun" pitchFamily="2" charset="-122"/>
            </a:endParaRPr>
          </a:p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en-US" sz="1400" dirty="0" smtClean="0">
                <a:ea typeface="SimSun" pitchFamily="2" charset="-122"/>
              </a:rPr>
              <a:t>C3 plant capacity </a:t>
            </a:r>
            <a:r>
              <a:rPr lang="ru-RU" sz="1400" dirty="0" smtClean="0">
                <a:ea typeface="SimSun" pitchFamily="2" charset="-122"/>
              </a:rPr>
              <a:t>510</a:t>
            </a:r>
            <a:r>
              <a:rPr lang="en-US" sz="1400" dirty="0" smtClean="0">
                <a:ea typeface="SimSun" pitchFamily="2" charset="-122"/>
              </a:rPr>
              <a:t> </a:t>
            </a:r>
            <a:r>
              <a:rPr lang="en-US" sz="1400" dirty="0" err="1" smtClean="0">
                <a:ea typeface="SimSun" pitchFamily="2" charset="-122"/>
              </a:rPr>
              <a:t>kt</a:t>
            </a:r>
            <a:r>
              <a:rPr lang="en-US" sz="1400" dirty="0" smtClean="0">
                <a:ea typeface="SimSun" pitchFamily="2" charset="-122"/>
              </a:rPr>
              <a:t>/annum, price per ton $300</a:t>
            </a:r>
            <a:endParaRPr lang="en-US" sz="1400" dirty="0">
              <a:ea typeface="SimSun" pitchFamily="2" charset="-122"/>
            </a:endParaRPr>
          </a:p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en-US" sz="1400" dirty="0" smtClean="0">
                <a:ea typeface="SimSun" pitchFamily="2" charset="-122"/>
              </a:rPr>
              <a:t>Does not taken into account 8-days shutdown</a:t>
            </a:r>
            <a:endParaRPr lang="en-US" sz="1400" dirty="0">
              <a:ea typeface="SimSun" pitchFamily="2" charset="-122"/>
            </a:endParaRPr>
          </a:p>
        </p:txBody>
      </p:sp>
      <p:sp>
        <p:nvSpPr>
          <p:cNvPr id="4" name="Oval 3"/>
          <p:cNvSpPr>
            <a:spLocks noChangeAspect="1"/>
          </p:cNvSpPr>
          <p:nvPr/>
        </p:nvSpPr>
        <p:spPr bwMode="auto">
          <a:xfrm>
            <a:off x="2043113" y="2384417"/>
            <a:ext cx="2286000" cy="2286000"/>
          </a:xfrm>
          <a:prstGeom prst="ellipse">
            <a:avLst/>
          </a:prstGeom>
          <a:solidFill>
            <a:schemeClr val="bg1">
              <a:lumMod val="75000"/>
            </a:schemeClr>
          </a:solidFill>
          <a:ln w="762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 anchorCtr="1">
            <a:normAutofit/>
          </a:bodyPr>
          <a:lstStyle/>
          <a:p>
            <a:pPr algn="ctr" defTabSz="914400">
              <a:lnSpc>
                <a:spcPct val="90000"/>
              </a:lnSpc>
              <a:defRPr/>
            </a:pPr>
            <a:r>
              <a:rPr lang="en-US" sz="4000" b="1" dirty="0">
                <a:solidFill>
                  <a:schemeClr val="accent3"/>
                </a:solidFill>
              </a:rPr>
              <a:t>$</a:t>
            </a:r>
            <a:r>
              <a:rPr lang="ru-RU" sz="4000" b="1" dirty="0">
                <a:solidFill>
                  <a:schemeClr val="accent3"/>
                </a:solidFill>
              </a:rPr>
              <a:t> </a:t>
            </a:r>
            <a:r>
              <a:rPr lang="en-US" sz="4000" b="1" dirty="0">
                <a:solidFill>
                  <a:schemeClr val="accent3"/>
                </a:solidFill>
              </a:rPr>
              <a:t>3</a:t>
            </a:r>
            <a:r>
              <a:rPr lang="ru-RU" sz="4000" b="1" dirty="0">
                <a:solidFill>
                  <a:schemeClr val="accent3"/>
                </a:solidFill>
              </a:rPr>
              <a:t>,4</a:t>
            </a:r>
            <a:r>
              <a:rPr lang="en-US" sz="4000" b="1" dirty="0">
                <a:solidFill>
                  <a:schemeClr val="accent3"/>
                </a:solidFill>
              </a:rPr>
              <a:t> </a:t>
            </a:r>
            <a:r>
              <a:rPr lang="en-US" sz="2000" b="1" dirty="0" err="1" smtClean="0">
                <a:solidFill>
                  <a:schemeClr val="accent3"/>
                </a:solidFill>
              </a:rPr>
              <a:t>mln</a:t>
            </a:r>
            <a:r>
              <a:rPr lang="en-US" sz="2000" b="1" dirty="0" smtClean="0">
                <a:solidFill>
                  <a:schemeClr val="accent3"/>
                </a:solidFill>
              </a:rPr>
              <a:t>/annum</a:t>
            </a:r>
            <a:endParaRPr lang="en-US" sz="2000" b="1" dirty="0">
              <a:solidFill>
                <a:schemeClr val="accent3"/>
              </a:solidFill>
            </a:endParaRPr>
          </a:p>
        </p:txBody>
      </p:sp>
      <p:sp>
        <p:nvSpPr>
          <p:cNvPr id="39942" name="TextBox 4"/>
          <p:cNvSpPr txBox="1">
            <a:spLocks noChangeArrowheads="1"/>
          </p:cNvSpPr>
          <p:nvPr/>
        </p:nvSpPr>
        <p:spPr bwMode="auto">
          <a:xfrm>
            <a:off x="1759988" y="1221060"/>
            <a:ext cx="2459038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/>
            <a:r>
              <a:rPr lang="en-US" dirty="0" smtClean="0"/>
              <a:t>Typical benefits</a:t>
            </a:r>
            <a:endParaRPr lang="en-US" dirty="0"/>
          </a:p>
        </p:txBody>
      </p:sp>
      <p:sp>
        <p:nvSpPr>
          <p:cNvPr id="39943" name="TextBox 6"/>
          <p:cNvSpPr txBox="1">
            <a:spLocks noChangeArrowheads="1"/>
          </p:cNvSpPr>
          <p:nvPr/>
        </p:nvSpPr>
        <p:spPr bwMode="auto">
          <a:xfrm>
            <a:off x="4627564" y="1163631"/>
            <a:ext cx="1533525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/>
            <a:r>
              <a:rPr lang="en-US" dirty="0" smtClean="0"/>
              <a:t>What</a:t>
            </a:r>
            <a:endParaRPr lang="en-US" dirty="0"/>
          </a:p>
        </p:txBody>
      </p:sp>
      <p:sp>
        <p:nvSpPr>
          <p:cNvPr id="39944" name="Title 1"/>
          <p:cNvSpPr txBox="1">
            <a:spLocks/>
          </p:cNvSpPr>
          <p:nvPr/>
        </p:nvSpPr>
        <p:spPr bwMode="auto">
          <a:xfrm>
            <a:off x="6829426" y="1544631"/>
            <a:ext cx="3859213" cy="1182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>
              <a:lnSpc>
                <a:spcPct val="85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1200" i="1" dirty="0" smtClean="0">
                <a:solidFill>
                  <a:srgbClr val="000000"/>
                </a:solidFill>
                <a:ea typeface="SimSun" pitchFamily="2" charset="-122"/>
              </a:rPr>
              <a:t>Performance improvements due to better understanding of key process parameters and constraints of </a:t>
            </a:r>
            <a:r>
              <a:rPr lang="en-GB" sz="1200" i="1" dirty="0" err="1" smtClean="0">
                <a:solidFill>
                  <a:srgbClr val="000000"/>
                </a:solidFill>
                <a:ea typeface="SimSun" pitchFamily="2" charset="-122"/>
              </a:rPr>
              <a:t>Oleflex</a:t>
            </a:r>
            <a:r>
              <a:rPr lang="en-GB" sz="1200" i="1" dirty="0" smtClean="0">
                <a:solidFill>
                  <a:srgbClr val="000000"/>
                </a:solidFill>
                <a:ea typeface="SimSun" pitchFamily="2" charset="-122"/>
              </a:rPr>
              <a:t> plant</a:t>
            </a:r>
            <a:endParaRPr lang="en-GB" sz="1200" i="1" dirty="0">
              <a:solidFill>
                <a:srgbClr val="000000"/>
              </a:solidFill>
              <a:ea typeface="SimSun" pitchFamily="2" charset="-122"/>
            </a:endParaRPr>
          </a:p>
        </p:txBody>
      </p:sp>
      <p:grpSp>
        <p:nvGrpSpPr>
          <p:cNvPr id="39946" name="Group 17"/>
          <p:cNvGrpSpPr>
            <a:grpSpLocks/>
          </p:cNvGrpSpPr>
          <p:nvPr/>
        </p:nvGrpSpPr>
        <p:grpSpPr bwMode="auto">
          <a:xfrm>
            <a:off x="4714876" y="4081455"/>
            <a:ext cx="5953125" cy="1179512"/>
            <a:chOff x="4267919" y="2580565"/>
            <a:chExt cx="4876080" cy="1286585"/>
          </a:xfrm>
        </p:grpSpPr>
        <p:sp>
          <p:nvSpPr>
            <p:cNvPr id="21" name="Rectangle 20"/>
            <p:cNvSpPr/>
            <p:nvPr/>
          </p:nvSpPr>
          <p:spPr bwMode="auto">
            <a:xfrm>
              <a:off x="4267919" y="2580565"/>
              <a:ext cx="4876080" cy="1286585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defTabSz="914400">
                <a:lnSpc>
                  <a:spcPct val="90000"/>
                </a:lnSpc>
                <a:defRPr/>
              </a:pPr>
              <a:endParaRPr lang="en-US" sz="1200" b="1"/>
            </a:p>
          </p:txBody>
        </p:sp>
        <p:sp>
          <p:nvSpPr>
            <p:cNvPr id="22" name="Pentagon 21"/>
            <p:cNvSpPr/>
            <p:nvPr/>
          </p:nvSpPr>
          <p:spPr bwMode="auto">
            <a:xfrm>
              <a:off x="4277021" y="2580565"/>
              <a:ext cx="1647464" cy="1286585"/>
            </a:xfrm>
            <a:prstGeom prst="homePlate">
              <a:avLst/>
            </a:prstGeom>
            <a:solidFill>
              <a:schemeClr val="accent4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82880" tIns="0" rIns="0" bIns="0" anchor="ctr"/>
            <a:lstStyle/>
            <a:p>
              <a:pPr defTabSz="914400">
                <a:lnSpc>
                  <a:spcPct val="90000"/>
                </a:lnSpc>
                <a:defRPr/>
              </a:pPr>
              <a:r>
                <a:rPr lang="en-US" sz="1600" b="1" dirty="0" smtClean="0">
                  <a:solidFill>
                    <a:schemeClr val="bg1"/>
                  </a:solidFill>
                </a:rPr>
                <a:t>Knowledge Transfer</a:t>
              </a:r>
              <a:endParaRPr lang="en-US" sz="16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39947" name="TextBox 22"/>
          <p:cNvSpPr txBox="1">
            <a:spLocks noChangeArrowheads="1"/>
          </p:cNvSpPr>
          <p:nvPr/>
        </p:nvSpPr>
        <p:spPr bwMode="auto">
          <a:xfrm>
            <a:off x="7173913" y="1165217"/>
            <a:ext cx="2322512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/>
            <a:r>
              <a:rPr lang="en-US" dirty="0" smtClean="0"/>
              <a:t>How</a:t>
            </a:r>
            <a:endParaRPr lang="en-US" dirty="0"/>
          </a:p>
        </p:txBody>
      </p:sp>
      <p:sp>
        <p:nvSpPr>
          <p:cNvPr id="39948" name="Title 1"/>
          <p:cNvSpPr txBox="1">
            <a:spLocks/>
          </p:cNvSpPr>
          <p:nvPr/>
        </p:nvSpPr>
        <p:spPr bwMode="auto">
          <a:xfrm>
            <a:off x="6808788" y="2814630"/>
            <a:ext cx="3859212" cy="1179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>
              <a:lnSpc>
                <a:spcPct val="85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1200" i="1" dirty="0" smtClean="0">
                <a:solidFill>
                  <a:srgbClr val="000000"/>
                </a:solidFill>
                <a:ea typeface="SimSun" pitchFamily="2" charset="-122"/>
              </a:rPr>
              <a:t>Avoid shutdowns and early corrective actions due to faster recognition of process issues and equipment failures</a:t>
            </a:r>
            <a:endParaRPr lang="ru-RU" sz="1200" i="1" dirty="0">
              <a:solidFill>
                <a:srgbClr val="000000"/>
              </a:solidFill>
              <a:ea typeface="SimSun" pitchFamily="2" charset="-122"/>
            </a:endParaRPr>
          </a:p>
        </p:txBody>
      </p:sp>
      <p:sp>
        <p:nvSpPr>
          <p:cNvPr id="39949" name="Title 1"/>
          <p:cNvSpPr txBox="1">
            <a:spLocks/>
          </p:cNvSpPr>
          <p:nvPr/>
        </p:nvSpPr>
        <p:spPr bwMode="auto">
          <a:xfrm>
            <a:off x="6808788" y="4081456"/>
            <a:ext cx="3859212" cy="1171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>
              <a:lnSpc>
                <a:spcPct val="85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1200" i="1" dirty="0" smtClean="0">
                <a:solidFill>
                  <a:srgbClr val="000000"/>
                </a:solidFill>
                <a:ea typeface="SimSun" pitchFamily="2" charset="-122"/>
              </a:rPr>
              <a:t>Ensuring Knowledge refresh and situation awareness due to on-line access to critical actual information</a:t>
            </a:r>
            <a:endParaRPr lang="ru-RU" sz="1200" i="1" dirty="0">
              <a:solidFill>
                <a:srgbClr val="000000"/>
              </a:solidFill>
              <a:ea typeface="SimSun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805357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000" y="864546"/>
            <a:ext cx="9144000" cy="5143500"/>
          </a:xfrm>
          <a:prstGeom prst="rect">
            <a:avLst/>
          </a:prstGeom>
        </p:spPr>
      </p:pic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0121559-6FAE-4C9F-95D5-751370D9C50E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10399" y="857251"/>
            <a:ext cx="1357603" cy="1357603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>
          <a:xfrm>
            <a:off x="1929636" y="1387563"/>
            <a:ext cx="619233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cap="all" dirty="0">
                <a:solidFill>
                  <a:schemeClr val="bg2"/>
                </a:solidFill>
                <a:latin typeface="+mj-lt"/>
              </a:rPr>
              <a:t>THE POWER OF CONNECTED AIRCRAFT</a:t>
            </a: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3079" y="1879921"/>
            <a:ext cx="2824118" cy="3248838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24610" y="5365803"/>
            <a:ext cx="1332791" cy="369812"/>
          </a:xfrm>
          <a:prstGeom prst="rect">
            <a:avLst/>
          </a:prstGeom>
        </p:spPr>
      </p:pic>
      <p:sp>
        <p:nvSpPr>
          <p:cNvPr id="13" name="TextBox 12"/>
          <p:cNvSpPr txBox="1"/>
          <p:nvPr/>
        </p:nvSpPr>
        <p:spPr>
          <a:xfrm>
            <a:off x="2012632" y="2086721"/>
            <a:ext cx="2814404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A connected aircraft can receive, transmit, analyze and share data enabling more informed decision-making, operational cost reduction, and an improved flying experience.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7534822" y="3010219"/>
            <a:ext cx="3133179" cy="22621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500" spc="-23" dirty="0">
                <a:solidFill>
                  <a:schemeClr val="bg1"/>
                </a:solidFill>
              </a:rPr>
              <a:t> </a:t>
            </a:r>
            <a:endParaRPr lang="en-US" sz="1500" b="1" spc="-23" dirty="0">
              <a:solidFill>
                <a:srgbClr val="FF0000"/>
              </a:solidFill>
            </a:endParaRPr>
          </a:p>
          <a:p>
            <a:r>
              <a:rPr lang="en-US" dirty="0">
                <a:solidFill>
                  <a:schemeClr val="bg1"/>
                </a:solidFill>
              </a:rPr>
              <a:t>A connected aircraft anticipates opportunities and offers unique insights by harnessing the power of analytics with the confidence of a secure communication link to and from the aircraft. </a:t>
            </a:r>
          </a:p>
        </p:txBody>
      </p:sp>
      <p:cxnSp>
        <p:nvCxnSpPr>
          <p:cNvPr id="26" name="Straight Arrow Connector 25"/>
          <p:cNvCxnSpPr/>
          <p:nvPr/>
        </p:nvCxnSpPr>
        <p:spPr>
          <a:xfrm flipH="1">
            <a:off x="4118855" y="4307331"/>
            <a:ext cx="816312" cy="751742"/>
          </a:xfrm>
          <a:prstGeom prst="straightConnector1">
            <a:avLst/>
          </a:prstGeom>
          <a:ln w="69850">
            <a:solidFill>
              <a:schemeClr val="bg1"/>
            </a:solidFill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7" name="Straight Arrow Connector 26"/>
          <p:cNvCxnSpPr/>
          <p:nvPr/>
        </p:nvCxnSpPr>
        <p:spPr>
          <a:xfrm flipV="1">
            <a:off x="4260908" y="4399651"/>
            <a:ext cx="832523" cy="812241"/>
          </a:xfrm>
          <a:prstGeom prst="straightConnector1">
            <a:avLst/>
          </a:prstGeom>
          <a:ln w="69850">
            <a:solidFill>
              <a:schemeClr val="bg1"/>
            </a:solidFill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 flipH="1">
            <a:off x="6620092" y="2105659"/>
            <a:ext cx="816312" cy="751742"/>
          </a:xfrm>
          <a:prstGeom prst="straightConnector1">
            <a:avLst/>
          </a:prstGeom>
          <a:ln w="69850">
            <a:solidFill>
              <a:schemeClr val="bg1"/>
            </a:solidFill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 flipV="1">
            <a:off x="6762144" y="2197979"/>
            <a:ext cx="832523" cy="812241"/>
          </a:xfrm>
          <a:prstGeom prst="straightConnector1">
            <a:avLst/>
          </a:prstGeom>
          <a:ln w="69850">
            <a:solidFill>
              <a:schemeClr val="bg1"/>
            </a:solidFill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278311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4HrtAwoN0WV85tLOBcsB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4HrtAwoN0WV85tLOBcsB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4HrtAwoN0WV85tLOBcsB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4HrtAwoN0WV85tLOBcsB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oneywell PPT Template 16X9 Wide V3.5">
  <a:themeElements>
    <a:clrScheme name="Colors - Honeywell's Brand">
      <a:dk1>
        <a:srgbClr val="000000"/>
      </a:dk1>
      <a:lt1>
        <a:srgbClr val="FFFFFF"/>
      </a:lt1>
      <a:dk2>
        <a:srgbClr val="E1261C"/>
      </a:dk2>
      <a:lt2>
        <a:srgbClr val="FFFFFF"/>
      </a:lt2>
      <a:accent1>
        <a:srgbClr val="E1261C"/>
      </a:accent1>
      <a:accent2>
        <a:srgbClr val="FFC627"/>
      </a:accent2>
      <a:accent3>
        <a:srgbClr val="707070"/>
      </a:accent3>
      <a:accent4>
        <a:srgbClr val="F37021"/>
      </a:accent4>
      <a:accent5>
        <a:srgbClr val="1792E5"/>
      </a:accent5>
      <a:accent6>
        <a:srgbClr val="000000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rgbClr val="7F7F7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1" id="{40771C3D-90A6-114A-A6B4-BD27573B99AF}" vid="{F5A8B05E-D299-F04F-B6EC-D12036ED5347}"/>
    </a:ext>
  </a:extLst>
</a:theme>
</file>

<file path=ppt/theme/theme10.xml><?xml version="1.0" encoding="utf-8"?>
<a:theme xmlns:a="http://schemas.openxmlformats.org/drawingml/2006/main" name="6_Honeywell Theme">
  <a:themeElements>
    <a:clrScheme name="Honeywell Branded Colors">
      <a:dk1>
        <a:srgbClr val="000000"/>
      </a:dk1>
      <a:lt1>
        <a:srgbClr val="FFFFFF"/>
      </a:lt1>
      <a:dk2>
        <a:srgbClr val="E1261C"/>
      </a:dk2>
      <a:lt2>
        <a:srgbClr val="FFFFFF"/>
      </a:lt2>
      <a:accent1>
        <a:srgbClr val="000000"/>
      </a:accent1>
      <a:accent2>
        <a:srgbClr val="707070"/>
      </a:accent2>
      <a:accent3>
        <a:srgbClr val="E1261C"/>
      </a:accent3>
      <a:accent4>
        <a:srgbClr val="F37021"/>
      </a:accent4>
      <a:accent5>
        <a:srgbClr val="FFC627"/>
      </a:accent5>
      <a:accent6>
        <a:srgbClr val="1792E5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2700"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spAutoFit/>
      </a:bodyPr>
      <a:lstStyle>
        <a:defPPr algn="ctr">
          <a:defRPr dirty="0" smtClean="0">
            <a:solidFill>
              <a:schemeClr val="accent2"/>
            </a:solidFill>
          </a:defRPr>
        </a:defPPr>
      </a:lstStyle>
      <a:style>
        <a:lnRef idx="2">
          <a:schemeClr val="accent2"/>
        </a:lnRef>
        <a:fillRef idx="1">
          <a:schemeClr val="lt1"/>
        </a:fillRef>
        <a:effectRef idx="0">
          <a:schemeClr val="accent2"/>
        </a:effectRef>
        <a:fontRef idx="minor">
          <a:schemeClr val="dk1"/>
        </a:fontRef>
      </a:style>
    </a:spDef>
    <a:lnDef>
      <a:spPr>
        <a:ln w="12700" cmpd="sng">
          <a:solidFill>
            <a:schemeClr val="bg1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1" id="{0224257D-E339-48A1-BF15-D97B4E1802C5}" vid="{E0B04442-8F38-4BE5-9BE8-2371915C9E54}"/>
    </a:ext>
  </a:extLst>
</a:theme>
</file>

<file path=ppt/theme/theme11.xml><?xml version="1.0" encoding="utf-8"?>
<a:theme xmlns:a="http://schemas.openxmlformats.org/drawingml/2006/main" name="7_Honeywell Theme">
  <a:themeElements>
    <a:clrScheme name="Colors - Honeywell's Brand">
      <a:dk1>
        <a:srgbClr val="000000"/>
      </a:dk1>
      <a:lt1>
        <a:srgbClr val="FFFFFF"/>
      </a:lt1>
      <a:dk2>
        <a:srgbClr val="E1261C"/>
      </a:dk2>
      <a:lt2>
        <a:srgbClr val="FFFFFF"/>
      </a:lt2>
      <a:accent1>
        <a:srgbClr val="E1261C"/>
      </a:accent1>
      <a:accent2>
        <a:srgbClr val="FFC627"/>
      </a:accent2>
      <a:accent3>
        <a:srgbClr val="707070"/>
      </a:accent3>
      <a:accent4>
        <a:srgbClr val="F37021"/>
      </a:accent4>
      <a:accent5>
        <a:srgbClr val="1792E5"/>
      </a:accent5>
      <a:accent6>
        <a:srgbClr val="000000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2700"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spAutoFit/>
      </a:bodyPr>
      <a:lstStyle>
        <a:defPPr algn="ctr">
          <a:defRPr dirty="0" smtClean="0">
            <a:solidFill>
              <a:schemeClr val="accent3"/>
            </a:solidFill>
          </a:defRPr>
        </a:defPPr>
      </a:lstStyle>
      <a:style>
        <a:lnRef idx="2">
          <a:schemeClr val="accent3"/>
        </a:lnRef>
        <a:fillRef idx="1">
          <a:schemeClr val="lt1"/>
        </a:fillRef>
        <a:effectRef idx="0">
          <a:schemeClr val="accent3"/>
        </a:effectRef>
        <a:fontRef idx="minor">
          <a:schemeClr val="dk1"/>
        </a:fontRef>
      </a:style>
    </a:spDef>
    <a:lnDef>
      <a:spPr>
        <a:ln w="12700" cmpd="sng">
          <a:solidFill>
            <a:schemeClr val="bg1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 16X9 Wide V3.6" id="{73FDE494-8B1D-4D88-80B0-A69F347B606A}" vid="{058B3932-1797-4B68-A1B1-85E50FEDE3FB}"/>
    </a:ext>
  </a:extLst>
</a:theme>
</file>

<file path=ppt/theme/theme12.xml><?xml version="1.0" encoding="utf-8"?>
<a:theme xmlns:a="http://schemas.openxmlformats.org/drawingml/2006/main" name="8_Honeywell Theme">
  <a:themeElements>
    <a:clrScheme name="Honeywell Branded Colors">
      <a:dk1>
        <a:srgbClr val="000000"/>
      </a:dk1>
      <a:lt1>
        <a:srgbClr val="FFFFFF"/>
      </a:lt1>
      <a:dk2>
        <a:srgbClr val="E1261C"/>
      </a:dk2>
      <a:lt2>
        <a:srgbClr val="FFFFFF"/>
      </a:lt2>
      <a:accent1>
        <a:srgbClr val="000000"/>
      </a:accent1>
      <a:accent2>
        <a:srgbClr val="707070"/>
      </a:accent2>
      <a:accent3>
        <a:srgbClr val="E1261C"/>
      </a:accent3>
      <a:accent4>
        <a:srgbClr val="F37021"/>
      </a:accent4>
      <a:accent5>
        <a:srgbClr val="FFC627"/>
      </a:accent5>
      <a:accent6>
        <a:srgbClr val="1792E5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2700"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spAutoFit/>
      </a:bodyPr>
      <a:lstStyle>
        <a:defPPr algn="ctr">
          <a:defRPr dirty="0" smtClean="0">
            <a:solidFill>
              <a:schemeClr val="accent2"/>
            </a:solidFill>
          </a:defRPr>
        </a:defPPr>
      </a:lstStyle>
      <a:style>
        <a:lnRef idx="2">
          <a:schemeClr val="accent2"/>
        </a:lnRef>
        <a:fillRef idx="1">
          <a:schemeClr val="lt1"/>
        </a:fillRef>
        <a:effectRef idx="0">
          <a:schemeClr val="accent2"/>
        </a:effectRef>
        <a:fontRef idx="minor">
          <a:schemeClr val="dk1"/>
        </a:fontRef>
      </a:style>
    </a:spDef>
    <a:lnDef>
      <a:spPr>
        <a:ln w="12700" cmpd="sng">
          <a:solidFill>
            <a:schemeClr val="bg1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1" id="{0224257D-E339-48A1-BF15-D97B4E1802C5}" vid="{E0B04442-8F38-4BE5-9BE8-2371915C9E54}"/>
    </a:ext>
  </a:extLst>
</a:theme>
</file>

<file path=ppt/theme/theme1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Honeywell Single Image Cover">
  <a:themeElements>
    <a:clrScheme name="Colors - Honeywell's Brand">
      <a:dk1>
        <a:srgbClr val="000000"/>
      </a:dk1>
      <a:lt1>
        <a:srgbClr val="FFFFFF"/>
      </a:lt1>
      <a:dk2>
        <a:srgbClr val="E1261C"/>
      </a:dk2>
      <a:lt2>
        <a:srgbClr val="FFFFFF"/>
      </a:lt2>
      <a:accent1>
        <a:srgbClr val="E1261C"/>
      </a:accent1>
      <a:accent2>
        <a:srgbClr val="FFC627"/>
      </a:accent2>
      <a:accent3>
        <a:srgbClr val="707070"/>
      </a:accent3>
      <a:accent4>
        <a:srgbClr val="F37021"/>
      </a:accent4>
      <a:accent5>
        <a:srgbClr val="1792E5"/>
      </a:accent5>
      <a:accent6>
        <a:srgbClr val="000000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 cmpd="sng">
          <a:solidFill>
            <a:srgbClr val="7F7F7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1" id="{40771C3D-90A6-114A-A6B4-BD27573B99AF}" vid="{5D6347EE-762B-1241-9969-D6BDC6945AAE}"/>
    </a:ext>
  </a:extLst>
</a:theme>
</file>

<file path=ppt/theme/theme3.xml><?xml version="1.0" encoding="utf-8"?>
<a:theme xmlns:a="http://schemas.openxmlformats.org/drawingml/2006/main" name="Honeywell Theme">
  <a:themeElements>
    <a:clrScheme name="Colors - Honeywell's Brand">
      <a:dk1>
        <a:srgbClr val="000000"/>
      </a:dk1>
      <a:lt1>
        <a:srgbClr val="FFFFFF"/>
      </a:lt1>
      <a:dk2>
        <a:srgbClr val="E1261C"/>
      </a:dk2>
      <a:lt2>
        <a:srgbClr val="FFFFFF"/>
      </a:lt2>
      <a:accent1>
        <a:srgbClr val="E1261C"/>
      </a:accent1>
      <a:accent2>
        <a:srgbClr val="FFC627"/>
      </a:accent2>
      <a:accent3>
        <a:srgbClr val="707070"/>
      </a:accent3>
      <a:accent4>
        <a:srgbClr val="F37021"/>
      </a:accent4>
      <a:accent5>
        <a:srgbClr val="1792E5"/>
      </a:accent5>
      <a:accent6>
        <a:srgbClr val="000000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2700"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spAutoFit/>
      </a:bodyPr>
      <a:lstStyle>
        <a:defPPr algn="ctr">
          <a:defRPr dirty="0" smtClean="0">
            <a:solidFill>
              <a:schemeClr val="accent3"/>
            </a:solidFill>
          </a:defRPr>
        </a:defPPr>
      </a:lstStyle>
      <a:style>
        <a:lnRef idx="2">
          <a:schemeClr val="accent3"/>
        </a:lnRef>
        <a:fillRef idx="1">
          <a:schemeClr val="lt1"/>
        </a:fillRef>
        <a:effectRef idx="0">
          <a:schemeClr val="accent3"/>
        </a:effectRef>
        <a:fontRef idx="minor">
          <a:schemeClr val="dk1"/>
        </a:fontRef>
      </a:style>
    </a:spDef>
    <a:lnDef>
      <a:spPr>
        <a:ln w="12700" cmpd="sng">
          <a:solidFill>
            <a:schemeClr val="bg1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1" id="{40771C3D-90A6-114A-A6B4-BD27573B99AF}" vid="{78272178-0EE7-564B-8CDE-D385A0D346D5}"/>
    </a:ext>
  </a:extLst>
</a:theme>
</file>

<file path=ppt/theme/theme4.xml><?xml version="1.0" encoding="utf-8"?>
<a:theme xmlns:a="http://schemas.openxmlformats.org/drawingml/2006/main" name="1_Honeywell Theme">
  <a:themeElements>
    <a:clrScheme name="Colors - Honeywell's Brand">
      <a:dk1>
        <a:srgbClr val="000000"/>
      </a:dk1>
      <a:lt1>
        <a:srgbClr val="FFFFFF"/>
      </a:lt1>
      <a:dk2>
        <a:srgbClr val="E1261C"/>
      </a:dk2>
      <a:lt2>
        <a:srgbClr val="FFFFFF"/>
      </a:lt2>
      <a:accent1>
        <a:srgbClr val="E1261C"/>
      </a:accent1>
      <a:accent2>
        <a:srgbClr val="FFC627"/>
      </a:accent2>
      <a:accent3>
        <a:srgbClr val="707070"/>
      </a:accent3>
      <a:accent4>
        <a:srgbClr val="F37021"/>
      </a:accent4>
      <a:accent5>
        <a:srgbClr val="1792E5"/>
      </a:accent5>
      <a:accent6>
        <a:srgbClr val="000000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2700"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spAutoFit/>
      </a:bodyPr>
      <a:lstStyle>
        <a:defPPr algn="ctr">
          <a:defRPr dirty="0" smtClean="0">
            <a:solidFill>
              <a:schemeClr val="accent3"/>
            </a:solidFill>
          </a:defRPr>
        </a:defPPr>
      </a:lstStyle>
      <a:style>
        <a:lnRef idx="2">
          <a:schemeClr val="accent3"/>
        </a:lnRef>
        <a:fillRef idx="1">
          <a:schemeClr val="lt1"/>
        </a:fillRef>
        <a:effectRef idx="0">
          <a:schemeClr val="accent3"/>
        </a:effectRef>
        <a:fontRef idx="minor">
          <a:schemeClr val="dk1"/>
        </a:fontRef>
      </a:style>
    </a:spDef>
    <a:lnDef>
      <a:spPr>
        <a:ln w="12700" cmpd="sng">
          <a:solidFill>
            <a:schemeClr val="bg1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1" id="{40771C3D-90A6-114A-A6B4-BD27573B99AF}" vid="{3F46D5BB-6DED-7A43-95C5-5DD3B1C51B36}"/>
    </a:ext>
  </a:extLst>
</a:theme>
</file>

<file path=ppt/theme/theme5.xml><?xml version="1.0" encoding="utf-8"?>
<a:theme xmlns:a="http://schemas.openxmlformats.org/drawingml/2006/main" name="2_Honeywell Theme">
  <a:themeElements>
    <a:clrScheme name="Colors - Honeywell's Brand">
      <a:dk1>
        <a:srgbClr val="000000"/>
      </a:dk1>
      <a:lt1>
        <a:srgbClr val="FFFFFF"/>
      </a:lt1>
      <a:dk2>
        <a:srgbClr val="E1261C"/>
      </a:dk2>
      <a:lt2>
        <a:srgbClr val="FFFFFF"/>
      </a:lt2>
      <a:accent1>
        <a:srgbClr val="E1261C"/>
      </a:accent1>
      <a:accent2>
        <a:srgbClr val="FFC627"/>
      </a:accent2>
      <a:accent3>
        <a:srgbClr val="707070"/>
      </a:accent3>
      <a:accent4>
        <a:srgbClr val="F37021"/>
      </a:accent4>
      <a:accent5>
        <a:srgbClr val="1792E5"/>
      </a:accent5>
      <a:accent6>
        <a:srgbClr val="000000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2700"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spAutoFit/>
      </a:bodyPr>
      <a:lstStyle>
        <a:defPPr algn="ctr">
          <a:defRPr dirty="0" smtClean="0">
            <a:solidFill>
              <a:schemeClr val="accent3"/>
            </a:solidFill>
          </a:defRPr>
        </a:defPPr>
      </a:lstStyle>
      <a:style>
        <a:lnRef idx="2">
          <a:schemeClr val="accent3"/>
        </a:lnRef>
        <a:fillRef idx="1">
          <a:schemeClr val="lt1"/>
        </a:fillRef>
        <a:effectRef idx="0">
          <a:schemeClr val="accent3"/>
        </a:effectRef>
        <a:fontRef idx="minor">
          <a:schemeClr val="dk1"/>
        </a:fontRef>
      </a:style>
    </a:spDef>
    <a:lnDef>
      <a:spPr>
        <a:ln w="12700" cmpd="sng">
          <a:solidFill>
            <a:schemeClr val="bg1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 16X9 Wide V3.6" id="{73FDE494-8B1D-4D88-80B0-A69F347B606A}" vid="{058B3932-1797-4B68-A1B1-85E50FEDE3FB}"/>
    </a:ext>
  </a:extLst>
</a:theme>
</file>

<file path=ppt/theme/theme6.xml><?xml version="1.0" encoding="utf-8"?>
<a:theme xmlns:a="http://schemas.openxmlformats.org/drawingml/2006/main" name="26_Honeywell Theme">
  <a:themeElements>
    <a:clrScheme name="Honeywell Branded Colors">
      <a:dk1>
        <a:srgbClr val="000000"/>
      </a:dk1>
      <a:lt1>
        <a:srgbClr val="FFFFFF"/>
      </a:lt1>
      <a:dk2>
        <a:srgbClr val="E1261C"/>
      </a:dk2>
      <a:lt2>
        <a:srgbClr val="FFFFFF"/>
      </a:lt2>
      <a:accent1>
        <a:srgbClr val="000000"/>
      </a:accent1>
      <a:accent2>
        <a:srgbClr val="707070"/>
      </a:accent2>
      <a:accent3>
        <a:srgbClr val="E1261C"/>
      </a:accent3>
      <a:accent4>
        <a:srgbClr val="F37021"/>
      </a:accent4>
      <a:accent5>
        <a:srgbClr val="FFC627"/>
      </a:accent5>
      <a:accent6>
        <a:srgbClr val="1792E5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2700"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spAutoFit/>
      </a:bodyPr>
      <a:lstStyle>
        <a:defPPr algn="ctr">
          <a:defRPr dirty="0" smtClean="0">
            <a:solidFill>
              <a:schemeClr val="accent2"/>
            </a:solidFill>
          </a:defRPr>
        </a:defPPr>
      </a:lstStyle>
      <a:style>
        <a:lnRef idx="2">
          <a:schemeClr val="accent2"/>
        </a:lnRef>
        <a:fillRef idx="1">
          <a:schemeClr val="lt1"/>
        </a:fillRef>
        <a:effectRef idx="0">
          <a:schemeClr val="accent2"/>
        </a:effectRef>
        <a:fontRef idx="minor">
          <a:schemeClr val="dk1"/>
        </a:fontRef>
      </a:style>
    </a:spDef>
    <a:lnDef>
      <a:spPr>
        <a:ln w="12700" cmpd="sng">
          <a:solidFill>
            <a:schemeClr val="bg1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1" id="{0224257D-E339-48A1-BF15-D97B4E1802C5}" vid="{E0B04442-8F38-4BE5-9BE8-2371915C9E54}"/>
    </a:ext>
  </a:extLst>
</a:theme>
</file>

<file path=ppt/theme/theme7.xml><?xml version="1.0" encoding="utf-8"?>
<a:theme xmlns:a="http://schemas.openxmlformats.org/drawingml/2006/main" name="3_Honeywell Theme">
  <a:themeElements>
    <a:clrScheme name="Colors - Honeywell's Brand">
      <a:dk1>
        <a:srgbClr val="000000"/>
      </a:dk1>
      <a:lt1>
        <a:srgbClr val="FFFFFF"/>
      </a:lt1>
      <a:dk2>
        <a:srgbClr val="E1261C"/>
      </a:dk2>
      <a:lt2>
        <a:srgbClr val="FFFFFF"/>
      </a:lt2>
      <a:accent1>
        <a:srgbClr val="E1261C"/>
      </a:accent1>
      <a:accent2>
        <a:srgbClr val="FFC627"/>
      </a:accent2>
      <a:accent3>
        <a:srgbClr val="707070"/>
      </a:accent3>
      <a:accent4>
        <a:srgbClr val="F37021"/>
      </a:accent4>
      <a:accent5>
        <a:srgbClr val="1792E5"/>
      </a:accent5>
      <a:accent6>
        <a:srgbClr val="000000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2700"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spAutoFit/>
      </a:bodyPr>
      <a:lstStyle>
        <a:defPPr algn="ctr">
          <a:defRPr dirty="0" smtClean="0">
            <a:solidFill>
              <a:schemeClr val="accent3"/>
            </a:solidFill>
          </a:defRPr>
        </a:defPPr>
      </a:lstStyle>
      <a:style>
        <a:lnRef idx="2">
          <a:schemeClr val="accent3"/>
        </a:lnRef>
        <a:fillRef idx="1">
          <a:schemeClr val="lt1"/>
        </a:fillRef>
        <a:effectRef idx="0">
          <a:schemeClr val="accent3"/>
        </a:effectRef>
        <a:fontRef idx="minor">
          <a:schemeClr val="dk1"/>
        </a:fontRef>
      </a:style>
    </a:spDef>
    <a:lnDef>
      <a:spPr>
        <a:ln w="12700" cmpd="sng">
          <a:solidFill>
            <a:schemeClr val="bg1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 16X9 Wide V3.6" id="{73FDE494-8B1D-4D88-80B0-A69F347B606A}" vid="{058B3932-1797-4B68-A1B1-85E50FEDE3FB}"/>
    </a:ext>
  </a:extLst>
</a:theme>
</file>

<file path=ppt/theme/theme8.xml><?xml version="1.0" encoding="utf-8"?>
<a:theme xmlns:a="http://schemas.openxmlformats.org/drawingml/2006/main" name="4_Honeywell Theme">
  <a:themeElements>
    <a:clrScheme name="Honeywell Branded Colors">
      <a:dk1>
        <a:srgbClr val="000000"/>
      </a:dk1>
      <a:lt1>
        <a:srgbClr val="FFFFFF"/>
      </a:lt1>
      <a:dk2>
        <a:srgbClr val="E1261C"/>
      </a:dk2>
      <a:lt2>
        <a:srgbClr val="FFFFFF"/>
      </a:lt2>
      <a:accent1>
        <a:srgbClr val="000000"/>
      </a:accent1>
      <a:accent2>
        <a:srgbClr val="707070"/>
      </a:accent2>
      <a:accent3>
        <a:srgbClr val="E1261C"/>
      </a:accent3>
      <a:accent4>
        <a:srgbClr val="F37021"/>
      </a:accent4>
      <a:accent5>
        <a:srgbClr val="FFC627"/>
      </a:accent5>
      <a:accent6>
        <a:srgbClr val="1792E5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2700"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spAutoFit/>
      </a:bodyPr>
      <a:lstStyle>
        <a:defPPr algn="ctr">
          <a:defRPr dirty="0" smtClean="0">
            <a:solidFill>
              <a:schemeClr val="accent2"/>
            </a:solidFill>
          </a:defRPr>
        </a:defPPr>
      </a:lstStyle>
      <a:style>
        <a:lnRef idx="2">
          <a:schemeClr val="accent2"/>
        </a:lnRef>
        <a:fillRef idx="1">
          <a:schemeClr val="lt1"/>
        </a:fillRef>
        <a:effectRef idx="0">
          <a:schemeClr val="accent2"/>
        </a:effectRef>
        <a:fontRef idx="minor">
          <a:schemeClr val="dk1"/>
        </a:fontRef>
      </a:style>
    </a:spDef>
    <a:lnDef>
      <a:spPr>
        <a:ln w="12700" cmpd="sng">
          <a:solidFill>
            <a:schemeClr val="bg1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1" id="{0224257D-E339-48A1-BF15-D97B4E1802C5}" vid="{E0B04442-8F38-4BE5-9BE8-2371915C9E54}"/>
    </a:ext>
  </a:extLst>
</a:theme>
</file>

<file path=ppt/theme/theme9.xml><?xml version="1.0" encoding="utf-8"?>
<a:theme xmlns:a="http://schemas.openxmlformats.org/drawingml/2006/main" name="5_Honeywell Theme">
  <a:themeElements>
    <a:clrScheme name="Colors - Honeywell's Brand">
      <a:dk1>
        <a:srgbClr val="000000"/>
      </a:dk1>
      <a:lt1>
        <a:srgbClr val="FFFFFF"/>
      </a:lt1>
      <a:dk2>
        <a:srgbClr val="E1261C"/>
      </a:dk2>
      <a:lt2>
        <a:srgbClr val="FFFFFF"/>
      </a:lt2>
      <a:accent1>
        <a:srgbClr val="E1261C"/>
      </a:accent1>
      <a:accent2>
        <a:srgbClr val="FFC627"/>
      </a:accent2>
      <a:accent3>
        <a:srgbClr val="707070"/>
      </a:accent3>
      <a:accent4>
        <a:srgbClr val="F37021"/>
      </a:accent4>
      <a:accent5>
        <a:srgbClr val="1792E5"/>
      </a:accent5>
      <a:accent6>
        <a:srgbClr val="000000"/>
      </a:accent6>
      <a:hlink>
        <a:srgbClr val="707070"/>
      </a:hlink>
      <a:folHlink>
        <a:srgbClr val="E1261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2700"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spAutoFit/>
      </a:bodyPr>
      <a:lstStyle>
        <a:defPPr algn="ctr">
          <a:defRPr dirty="0" smtClean="0">
            <a:solidFill>
              <a:schemeClr val="accent3"/>
            </a:solidFill>
          </a:defRPr>
        </a:defPPr>
      </a:lstStyle>
      <a:style>
        <a:lnRef idx="2">
          <a:schemeClr val="accent3"/>
        </a:lnRef>
        <a:fillRef idx="1">
          <a:schemeClr val="lt1"/>
        </a:fillRef>
        <a:effectRef idx="0">
          <a:schemeClr val="accent3"/>
        </a:effectRef>
        <a:fontRef idx="minor">
          <a:schemeClr val="dk1"/>
        </a:fontRef>
      </a:style>
    </a:spDef>
    <a:lnDef>
      <a:spPr>
        <a:ln w="12700" cmpd="sng">
          <a:solidFill>
            <a:schemeClr val="bg1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oneywell PPT Template 16X9 Wide V3.6" id="{73FDE494-8B1D-4D88-80B0-A69F347B606A}" vid="{058B3932-1797-4B68-A1B1-85E50FEDE3FB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1EB125E098E7F49A0205A16AC239CE8" ma:contentTypeVersion="0" ma:contentTypeDescription="Create a new document." ma:contentTypeScope="" ma:versionID="73d8c0722a46478c40824ebff9961632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sisl xmlns:xsi="http://www.w3.org/2001/XMLSchema-instance" xmlns:xsd="http://www.w3.org/2001/XMLSchema" xmlns="http://www.boldonjames.com/2008/01/sie/internal/label" sislVersion="0" policy="bf276872-af07-4968-a71d-1c83e80bd0bf" origin="userSelected">
  <element uid="id_protectivemarking_protect" value=""/>
</sisl>
</file>

<file path=customXml/itemProps1.xml><?xml version="1.0" encoding="utf-8"?>
<ds:datastoreItem xmlns:ds="http://schemas.openxmlformats.org/officeDocument/2006/customXml" ds:itemID="{9A711268-4532-4FB9-8196-23D231793AA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7B3FB1CA-469E-4324-9C07-766BF09E0FD9}">
  <ds:schemaRefs>
    <ds:schemaRef ds:uri="http://purl.org/dc/dcmitype/"/>
    <ds:schemaRef ds:uri="http://www.w3.org/XML/1998/namespace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2006/documentManagement/types"/>
    <ds:schemaRef ds:uri="http://schemas.microsoft.com/office/infopath/2007/PartnerControls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F9F0D060-39C2-4244-BCDD-9794137E7EBA}">
  <ds:schemaRefs>
    <ds:schemaRef ds:uri="http://www.w3.org/2001/XMLSchema"/>
    <ds:schemaRef ds:uri="http://www.boldonjames.com/2008/01/sie/internal/label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Honeywell PPT Template 16X9 Wide V3.7 160425</Template>
  <TotalTime>13267</TotalTime>
  <Words>1771</Words>
  <Application>Microsoft Office PowerPoint</Application>
  <PresentationFormat>Widescreen</PresentationFormat>
  <Paragraphs>317</Paragraphs>
  <Slides>21</Slides>
  <Notes>11</Notes>
  <HiddenSlides>6</HiddenSlides>
  <MMClips>0</MMClips>
  <ScaleCrop>false</ScaleCrop>
  <HeadingPairs>
    <vt:vector size="8" baseType="variant">
      <vt:variant>
        <vt:lpstr>Fonts Used</vt:lpstr>
      </vt:variant>
      <vt:variant>
        <vt:i4>14</vt:i4>
      </vt:variant>
      <vt:variant>
        <vt:lpstr>Theme</vt:lpstr>
      </vt:variant>
      <vt:variant>
        <vt:i4>1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48" baseType="lpstr">
      <vt:lpstr>ＭＳ Ｐゴシック</vt:lpstr>
      <vt:lpstr>SimSun</vt:lpstr>
      <vt:lpstr>Adobe Gothic Std B</vt:lpstr>
      <vt:lpstr>Arial</vt:lpstr>
      <vt:lpstr>Arial Black</vt:lpstr>
      <vt:lpstr>Calibri</vt:lpstr>
      <vt:lpstr>Courier New</vt:lpstr>
      <vt:lpstr>Helvetica 55 Roman</vt:lpstr>
      <vt:lpstr>Helvetica Neue</vt:lpstr>
      <vt:lpstr>HelveticaNeue BoldCond</vt:lpstr>
      <vt:lpstr>HelveticaNeue MediumCond</vt:lpstr>
      <vt:lpstr>Honeywell Cond</vt:lpstr>
      <vt:lpstr>Honeywell Sans</vt:lpstr>
      <vt:lpstr>Wingdings</vt:lpstr>
      <vt:lpstr>Honeywell PPT Template 16X9 Wide V3.5</vt:lpstr>
      <vt:lpstr>Honeywell Single Image Cover</vt:lpstr>
      <vt:lpstr>Honeywell Theme</vt:lpstr>
      <vt:lpstr>1_Honeywell Theme</vt:lpstr>
      <vt:lpstr>2_Honeywell Theme</vt:lpstr>
      <vt:lpstr>26_Honeywell Theme</vt:lpstr>
      <vt:lpstr>3_Honeywell Theme</vt:lpstr>
      <vt:lpstr>4_Honeywell Theme</vt:lpstr>
      <vt:lpstr>5_Honeywell Theme</vt:lpstr>
      <vt:lpstr>6_Honeywell Theme</vt:lpstr>
      <vt:lpstr>7_Honeywell Theme</vt:lpstr>
      <vt:lpstr>8_Honeywell Theme</vt:lpstr>
      <vt:lpstr>think-cell Slide</vt:lpstr>
      <vt:lpstr>PowerPoint Presentation</vt:lpstr>
      <vt:lpstr>Global Diversified Installed Base</vt:lpstr>
      <vt:lpstr>Honeywell IIoT Strategy</vt:lpstr>
      <vt:lpstr>Honeywell SentienceTM  - Platform for all IIoT Offerings</vt:lpstr>
      <vt:lpstr>Honeywell strategic vision of Industry 4.0 trends</vt:lpstr>
      <vt:lpstr>PowerPoint Presentation</vt:lpstr>
      <vt:lpstr>PowerPoint Presentation</vt:lpstr>
      <vt:lpstr>Economic Benefits at UOP Oleflex process</vt:lpstr>
      <vt:lpstr>PowerPoint Presentation</vt:lpstr>
      <vt:lpstr>The marketplace for Connected aircraft</vt:lpstr>
      <vt:lpstr>PowerPoint Presentation</vt:lpstr>
      <vt:lpstr>PowerPoint Presentation</vt:lpstr>
      <vt:lpstr>PowerPoint Presentation</vt:lpstr>
      <vt:lpstr>What Is A Smart Connected Building?</vt:lpstr>
      <vt:lpstr>Why a Connected Building? </vt:lpstr>
      <vt:lpstr>Connectivity For Buildings &amp; People </vt:lpstr>
      <vt:lpstr>Advanced Command &amp; Control interface </vt:lpstr>
      <vt:lpstr>Incident Management &amp; Traceability </vt:lpstr>
      <vt:lpstr>Stay Connected at all times</vt:lpstr>
      <vt:lpstr>Connecting People </vt:lpstr>
      <vt:lpstr> V.Dozortsev, L.Sorkin ‘CONNECTED’ solutions in HONEYWELL strategy</vt:lpstr>
    </vt:vector>
  </TitlesOfParts>
  <Manager/>
  <Company/>
  <LinksUpToDate>false</LinksUpToDate>
  <SharedDoc>false</SharedDoc>
  <HyperlinkBase/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Sai Allavarpu</dc:creator>
  <cp:keywords/>
  <dc:description/>
  <cp:lastModifiedBy>рец.</cp:lastModifiedBy>
  <cp:revision>294</cp:revision>
  <cp:lastPrinted>2015-07-29T21:30:37Z</cp:lastPrinted>
  <dcterms:created xsi:type="dcterms:W3CDTF">2016-08-23T20:14:39Z</dcterms:created>
  <dcterms:modified xsi:type="dcterms:W3CDTF">2017-06-19T06:59:58Z</dcterms:modified>
  <cp:category/>
  <cp:contentStatus>Draft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1EB125E098E7F49A0205A16AC239CE8</vt:lpwstr>
  </property>
  <property fmtid="{D5CDD505-2E9C-101B-9397-08002B2CF9AE}" pid="3" name="Source">
    <vt:lpwstr>8f9874da50388e0acb1f5bab1b4b753b</vt:lpwstr>
  </property>
  <property fmtid="{D5CDD505-2E9C-101B-9397-08002B2CF9AE}" pid="4" name="docIndexRef">
    <vt:lpwstr>ddd920b9-1b2f-4e1a-aef4-222c1c16edd7</vt:lpwstr>
  </property>
  <property fmtid="{D5CDD505-2E9C-101B-9397-08002B2CF9AE}" pid="5" name="bjSaver">
    <vt:lpwstr>BbcOL7YnYJxO+c67yFBHelmSBa70OPDa</vt:lpwstr>
  </property>
  <property fmtid="{D5CDD505-2E9C-101B-9397-08002B2CF9AE}" pid="6" name="bjDocumentLabelXML">
    <vt:lpwstr>&lt;?xml version="1.0" encoding="us-ascii"?&gt;&lt;sisl xmlns:xsi="http://www.w3.org/2001/XMLSchema-instance" xmlns:xsd="http://www.w3.org/2001/XMLSchema" sislVersion="0" policy="bf276872-af07-4968-a71d-1c83e80bd0bf" origin="userSelected" xmlns="http://www.boldonj</vt:lpwstr>
  </property>
  <property fmtid="{D5CDD505-2E9C-101B-9397-08002B2CF9AE}" pid="7" name="bjDocumentLabelXML-0">
    <vt:lpwstr>ames.com/2008/01/sie/internal/label"&gt;&lt;element uid="id_protectivemarking_protect" value="" /&gt;&lt;/sisl&gt;</vt:lpwstr>
  </property>
  <property fmtid="{D5CDD505-2E9C-101B-9397-08002B2CF9AE}" pid="8" name="bjDocumentSecurityLabel">
    <vt:lpwstr>Honeywell Internal</vt:lpwstr>
  </property>
  <property fmtid="{D5CDD505-2E9C-101B-9397-08002B2CF9AE}" pid="9" name="BJClassification">
    <vt:lpwstr>Honeywell Internal</vt:lpwstr>
  </property>
</Properties>
</file>